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74" r:id="rId2"/>
    <p:sldMasterId id="2147483679" r:id="rId3"/>
    <p:sldMasterId id="2147483684" r:id="rId4"/>
    <p:sldMasterId id="2147483710" r:id="rId5"/>
  </p:sldMasterIdLst>
  <p:notesMasterIdLst>
    <p:notesMasterId r:id="rId22"/>
  </p:notesMasterIdLst>
  <p:sldIdLst>
    <p:sldId id="256" r:id="rId6"/>
    <p:sldId id="260" r:id="rId7"/>
    <p:sldId id="276" r:id="rId8"/>
    <p:sldId id="277" r:id="rId9"/>
    <p:sldId id="280" r:id="rId10"/>
    <p:sldId id="283" r:id="rId11"/>
    <p:sldId id="284" r:id="rId12"/>
    <p:sldId id="278" r:id="rId13"/>
    <p:sldId id="279" r:id="rId14"/>
    <p:sldId id="281" r:id="rId15"/>
    <p:sldId id="282" r:id="rId16"/>
    <p:sldId id="289" r:id="rId17"/>
    <p:sldId id="285" r:id="rId18"/>
    <p:sldId id="286" r:id="rId19"/>
    <p:sldId id="287" r:id="rId20"/>
    <p:sldId id="290" r:id="rId21"/>
  </p:sldIdLst>
  <p:sldSz cx="12192000" cy="6858000"/>
  <p:notesSz cx="6858000" cy="9144000"/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0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A96"/>
    <a:srgbClr val="009866"/>
    <a:srgbClr val="CC0000"/>
    <a:srgbClr val="94A3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288" autoAdjust="0"/>
    <p:restoredTop sz="90599" autoAdjust="0"/>
  </p:normalViewPr>
  <p:slideViewPr>
    <p:cSldViewPr snapToGrid="0">
      <p:cViewPr varScale="1">
        <p:scale>
          <a:sx n="128" d="100"/>
          <a:sy n="128" d="100"/>
        </p:scale>
        <p:origin x="336" y="176"/>
      </p:cViewPr>
      <p:guideLst>
        <p:guide orient="horz" pos="1003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1C5CDB-4DD3-4616-A2B1-CADC4CFE2E43}" type="datetimeFigureOut">
              <a:rPr lang="de-DE" smtClean="0"/>
              <a:t>28.12.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BB78E7-9FC0-46C6-A5A3-AA04B3BC5A47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09019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BB78E7-9FC0-46C6-A5A3-AA04B3BC5A47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29848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BB78E7-9FC0-46C6-A5A3-AA04B3BC5A47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294553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955220B0-981B-4B91-8046-7C7E0856AB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000" y="3582391"/>
            <a:ext cx="6134100" cy="1654772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0" indent="0" algn="l">
              <a:lnSpc>
                <a:spcPct val="80000"/>
              </a:lnSpc>
              <a:buNone/>
              <a:defRPr sz="3800" b="1" i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z="3800" b="1" dirty="0">
                <a:solidFill>
                  <a:schemeClr val="bg1"/>
                </a:solidFill>
                <a:latin typeface="+mj-lt"/>
              </a:rPr>
              <a:t>Willkommen an der</a:t>
            </a:r>
          </a:p>
          <a:p>
            <a:r>
              <a:rPr lang="de-DE" sz="3800" b="1" dirty="0">
                <a:solidFill>
                  <a:schemeClr val="bg1"/>
                </a:solidFill>
                <a:latin typeface="+mj-lt"/>
              </a:rPr>
              <a:t>Technischen Hochschule Ingolstadt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DFEA872E-0143-412F-8A3E-399C96D85C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21725" y="6231025"/>
            <a:ext cx="2743200" cy="36512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600" b="1">
                <a:solidFill>
                  <a:srgbClr val="00599C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99ABBF9E-483A-49E3-B63F-F34D49842C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89001" y="5440363"/>
            <a:ext cx="6311900" cy="5524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FontTx/>
              <a:buNone/>
              <a:defRPr sz="2800" b="0" i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2pPr>
            <a:lvl3pPr marL="9144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3pPr>
            <a:lvl4pPr marL="13716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4pPr>
            <a:lvl5pPr marL="18288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333369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092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31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234">
          <p15:clr>
            <a:srgbClr val="FBAE40"/>
          </p15:clr>
        </p15:guide>
        <p15:guide id="6" pos="7222">
          <p15:clr>
            <a:srgbClr val="FBAE40"/>
          </p15:clr>
        </p15:guide>
        <p15:guide id="7" orient="horz" pos="325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E2D6EFB-4C49-570C-61D9-7E44A040D2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9FEC2A8-9949-D70D-F0E8-34F91D6DF8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28A6E2C8-0724-8FBD-37E0-84AD813C23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7" name="Inhaltsplatzhalter 8">
            <a:extLst>
              <a:ext uri="{FF2B5EF4-FFF2-40B4-BE49-F238E27FC236}">
                <a16:creationId xmlns:a16="http://schemas.microsoft.com/office/drawing/2014/main" id="{755DAC17-192C-C2BB-264C-B8C5B802E13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42749664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fz.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21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 dirty="0"/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20"/>
          </p:nvPr>
        </p:nvSpPr>
        <p:spPr>
          <a:xfrm>
            <a:off x="632884" y="1771655"/>
            <a:ext cx="5401253" cy="4739759"/>
          </a:xfrm>
          <a:prstGeom prst="rect">
            <a:avLst/>
          </a:prstGeom>
        </p:spPr>
        <p:txBody>
          <a:bodyPr/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6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6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6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6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600" kern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2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6308422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Foliennummernplatzhalter 10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5DF636-10E3-C843-BAEB-4F17E52BCE0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07937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1051" y="426565"/>
            <a:ext cx="9401175" cy="644525"/>
          </a:xfrm>
          <a:prstGeom prst="rect">
            <a:avLst/>
          </a:prstGeom>
        </p:spPr>
        <p:txBody>
          <a:bodyPr/>
          <a:lstStyle>
            <a:lvl1pPr>
              <a:defRPr sz="32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1052" y="1652705"/>
            <a:ext cx="11496675" cy="39468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240765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9E9FB2-15AD-4BAD-B5DA-63EA35E480F0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17CD2510-B24F-E08D-439F-08B03EA5DB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6362" y="520624"/>
            <a:ext cx="10515600" cy="1020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j-ea"/>
                <a:cs typeface="+mj-cs"/>
              </a:rPr>
              <a:t>Mastertitelformat bearbeiten</a:t>
            </a:r>
            <a:br>
              <a:rPr lang="de-DE" dirty="0"/>
            </a:br>
            <a:r>
              <a:rPr lang="de-DE" dirty="0"/>
              <a:t>Mastertitelformat bearbeiten</a:t>
            </a:r>
          </a:p>
        </p:txBody>
      </p:sp>
      <p:sp>
        <p:nvSpPr>
          <p:cNvPr id="8" name="Rechteck 2">
            <a:extLst>
              <a:ext uri="{FF2B5EF4-FFF2-40B4-BE49-F238E27FC236}">
                <a16:creationId xmlns:a16="http://schemas.microsoft.com/office/drawing/2014/main" id="{7797BBE1-954D-E4C1-E1DC-637E28421130}"/>
              </a:ext>
            </a:extLst>
          </p:cNvPr>
          <p:cNvSpPr/>
          <p:nvPr userDrawn="1"/>
        </p:nvSpPr>
        <p:spPr>
          <a:xfrm rot="900000">
            <a:off x="7915061" y="2023018"/>
            <a:ext cx="4743438" cy="5570800"/>
          </a:xfrm>
          <a:custGeom>
            <a:avLst/>
            <a:gdLst>
              <a:gd name="connsiteX0" fmla="*/ 0 w 4937060"/>
              <a:gd name="connsiteY0" fmla="*/ 0 h 5843634"/>
              <a:gd name="connsiteX1" fmla="*/ 4937060 w 4937060"/>
              <a:gd name="connsiteY1" fmla="*/ 0 h 5843634"/>
              <a:gd name="connsiteX2" fmla="*/ 4937060 w 4937060"/>
              <a:gd name="connsiteY2" fmla="*/ 5843634 h 5843634"/>
              <a:gd name="connsiteX3" fmla="*/ 0 w 4937060"/>
              <a:gd name="connsiteY3" fmla="*/ 5843634 h 5843634"/>
              <a:gd name="connsiteX4" fmla="*/ 0 w 4937060"/>
              <a:gd name="connsiteY4" fmla="*/ 0 h 5843634"/>
              <a:gd name="connsiteX0" fmla="*/ 0 w 4937060"/>
              <a:gd name="connsiteY0" fmla="*/ 3186 h 5846820"/>
              <a:gd name="connsiteX1" fmla="*/ 3593274 w 4937060"/>
              <a:gd name="connsiteY1" fmla="*/ 0 h 5846820"/>
              <a:gd name="connsiteX2" fmla="*/ 4937060 w 4937060"/>
              <a:gd name="connsiteY2" fmla="*/ 5846820 h 5846820"/>
              <a:gd name="connsiteX3" fmla="*/ 0 w 4937060"/>
              <a:gd name="connsiteY3" fmla="*/ 5846820 h 5846820"/>
              <a:gd name="connsiteX4" fmla="*/ 0 w 4937060"/>
              <a:gd name="connsiteY4" fmla="*/ 3186 h 5846820"/>
              <a:gd name="connsiteX0" fmla="*/ 0 w 4743438"/>
              <a:gd name="connsiteY0" fmla="*/ 3186 h 5846820"/>
              <a:gd name="connsiteX1" fmla="*/ 3593274 w 4743438"/>
              <a:gd name="connsiteY1" fmla="*/ 0 h 5846820"/>
              <a:gd name="connsiteX2" fmla="*/ 4743438 w 4743438"/>
              <a:gd name="connsiteY2" fmla="*/ 4302594 h 5846820"/>
              <a:gd name="connsiteX3" fmla="*/ 0 w 4743438"/>
              <a:gd name="connsiteY3" fmla="*/ 5846820 h 5846820"/>
              <a:gd name="connsiteX4" fmla="*/ 0 w 4743438"/>
              <a:gd name="connsiteY4" fmla="*/ 3186 h 5846820"/>
              <a:gd name="connsiteX0" fmla="*/ 0 w 4743438"/>
              <a:gd name="connsiteY0" fmla="*/ 3186 h 5570800"/>
              <a:gd name="connsiteX1" fmla="*/ 3593274 w 4743438"/>
              <a:gd name="connsiteY1" fmla="*/ 0 h 5570800"/>
              <a:gd name="connsiteX2" fmla="*/ 4743438 w 4743438"/>
              <a:gd name="connsiteY2" fmla="*/ 4302594 h 5570800"/>
              <a:gd name="connsiteX3" fmla="*/ 3093 w 4743438"/>
              <a:gd name="connsiteY3" fmla="*/ 5570800 h 5570800"/>
              <a:gd name="connsiteX4" fmla="*/ 0 w 4743438"/>
              <a:gd name="connsiteY4" fmla="*/ 3186 h 557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43438" h="5570800">
                <a:moveTo>
                  <a:pt x="0" y="3186"/>
                </a:moveTo>
                <a:lnTo>
                  <a:pt x="3593274" y="0"/>
                </a:lnTo>
                <a:lnTo>
                  <a:pt x="4743438" y="4302594"/>
                </a:lnTo>
                <a:lnTo>
                  <a:pt x="3093" y="5570800"/>
                </a:lnTo>
                <a:lnTo>
                  <a:pt x="0" y="3186"/>
                </a:lnTo>
                <a:close/>
              </a:path>
            </a:pathLst>
          </a:custGeom>
          <a:solidFill>
            <a:srgbClr val="005A9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kzidenz-Grotesk Next 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6308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1051" y="426565"/>
            <a:ext cx="9401175" cy="644525"/>
          </a:xfrm>
          <a:prstGeom prst="rect">
            <a:avLst/>
          </a:prstGeom>
        </p:spPr>
        <p:txBody>
          <a:bodyPr/>
          <a:lstStyle>
            <a:lvl1pPr>
              <a:defRPr sz="32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350838" y="1658364"/>
            <a:ext cx="11507787" cy="394115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982192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1051" y="426565"/>
            <a:ext cx="9401175" cy="644525"/>
          </a:xfrm>
          <a:prstGeom prst="rect">
            <a:avLst/>
          </a:prstGeom>
        </p:spPr>
        <p:txBody>
          <a:bodyPr/>
          <a:lstStyle>
            <a:lvl1pPr>
              <a:defRPr sz="32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1052" y="1652705"/>
            <a:ext cx="11496675" cy="39468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115910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48006" y="1639492"/>
            <a:ext cx="5487185" cy="394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81946" y="1620640"/>
            <a:ext cx="5480905" cy="39600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351051" y="426565"/>
            <a:ext cx="9401175" cy="644525"/>
          </a:xfrm>
          <a:prstGeom prst="rect">
            <a:avLst/>
          </a:prstGeom>
        </p:spPr>
        <p:txBody>
          <a:bodyPr/>
          <a:lstStyle>
            <a:lvl1pPr>
              <a:defRPr sz="32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0638704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56115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Zwischentitel / Kapitel / neuer Abschni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44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3751036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Foliennummernplatzhalter 1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D8FB2E-9454-CC40-B155-B924620EFC86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38642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D67520-7C8F-7613-5DF1-EFDF91368F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122363"/>
            <a:ext cx="744855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E8A0071-FB47-AC68-D7DB-3B7970DE04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3602038"/>
            <a:ext cx="744855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42ADB0B-7CAA-17E0-560E-EDE236D7D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3779BA7-0B48-B00D-6BAF-B396D1180B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8" name="Rechteck 2">
            <a:extLst>
              <a:ext uri="{FF2B5EF4-FFF2-40B4-BE49-F238E27FC236}">
                <a16:creationId xmlns:a16="http://schemas.microsoft.com/office/drawing/2014/main" id="{18D1FF35-9BF2-B781-1F61-D38E0058699D}"/>
              </a:ext>
            </a:extLst>
          </p:cNvPr>
          <p:cNvSpPr/>
          <p:nvPr userDrawn="1"/>
        </p:nvSpPr>
        <p:spPr>
          <a:xfrm rot="900000">
            <a:off x="7915061" y="2023018"/>
            <a:ext cx="4743438" cy="5570800"/>
          </a:xfrm>
          <a:custGeom>
            <a:avLst/>
            <a:gdLst>
              <a:gd name="connsiteX0" fmla="*/ 0 w 4937060"/>
              <a:gd name="connsiteY0" fmla="*/ 0 h 5843634"/>
              <a:gd name="connsiteX1" fmla="*/ 4937060 w 4937060"/>
              <a:gd name="connsiteY1" fmla="*/ 0 h 5843634"/>
              <a:gd name="connsiteX2" fmla="*/ 4937060 w 4937060"/>
              <a:gd name="connsiteY2" fmla="*/ 5843634 h 5843634"/>
              <a:gd name="connsiteX3" fmla="*/ 0 w 4937060"/>
              <a:gd name="connsiteY3" fmla="*/ 5843634 h 5843634"/>
              <a:gd name="connsiteX4" fmla="*/ 0 w 4937060"/>
              <a:gd name="connsiteY4" fmla="*/ 0 h 5843634"/>
              <a:gd name="connsiteX0" fmla="*/ 0 w 4937060"/>
              <a:gd name="connsiteY0" fmla="*/ 3186 h 5846820"/>
              <a:gd name="connsiteX1" fmla="*/ 3593274 w 4937060"/>
              <a:gd name="connsiteY1" fmla="*/ 0 h 5846820"/>
              <a:gd name="connsiteX2" fmla="*/ 4937060 w 4937060"/>
              <a:gd name="connsiteY2" fmla="*/ 5846820 h 5846820"/>
              <a:gd name="connsiteX3" fmla="*/ 0 w 4937060"/>
              <a:gd name="connsiteY3" fmla="*/ 5846820 h 5846820"/>
              <a:gd name="connsiteX4" fmla="*/ 0 w 4937060"/>
              <a:gd name="connsiteY4" fmla="*/ 3186 h 5846820"/>
              <a:gd name="connsiteX0" fmla="*/ 0 w 4743438"/>
              <a:gd name="connsiteY0" fmla="*/ 3186 h 5846820"/>
              <a:gd name="connsiteX1" fmla="*/ 3593274 w 4743438"/>
              <a:gd name="connsiteY1" fmla="*/ 0 h 5846820"/>
              <a:gd name="connsiteX2" fmla="*/ 4743438 w 4743438"/>
              <a:gd name="connsiteY2" fmla="*/ 4302594 h 5846820"/>
              <a:gd name="connsiteX3" fmla="*/ 0 w 4743438"/>
              <a:gd name="connsiteY3" fmla="*/ 5846820 h 5846820"/>
              <a:gd name="connsiteX4" fmla="*/ 0 w 4743438"/>
              <a:gd name="connsiteY4" fmla="*/ 3186 h 5846820"/>
              <a:gd name="connsiteX0" fmla="*/ 0 w 4743438"/>
              <a:gd name="connsiteY0" fmla="*/ 3186 h 5570800"/>
              <a:gd name="connsiteX1" fmla="*/ 3593274 w 4743438"/>
              <a:gd name="connsiteY1" fmla="*/ 0 h 5570800"/>
              <a:gd name="connsiteX2" fmla="*/ 4743438 w 4743438"/>
              <a:gd name="connsiteY2" fmla="*/ 4302594 h 5570800"/>
              <a:gd name="connsiteX3" fmla="*/ 3093 w 4743438"/>
              <a:gd name="connsiteY3" fmla="*/ 5570800 h 5570800"/>
              <a:gd name="connsiteX4" fmla="*/ 0 w 4743438"/>
              <a:gd name="connsiteY4" fmla="*/ 3186 h 557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43438" h="5570800">
                <a:moveTo>
                  <a:pt x="0" y="3186"/>
                </a:moveTo>
                <a:lnTo>
                  <a:pt x="3593274" y="0"/>
                </a:lnTo>
                <a:lnTo>
                  <a:pt x="4743438" y="4302594"/>
                </a:lnTo>
                <a:lnTo>
                  <a:pt x="3093" y="5570800"/>
                </a:lnTo>
                <a:lnTo>
                  <a:pt x="0" y="3186"/>
                </a:lnTo>
                <a:close/>
              </a:path>
            </a:pathLst>
          </a:custGeom>
          <a:solidFill>
            <a:srgbClr val="005A9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kzidenz-Grotesk Next 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99856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2"/>
          <p:cNvSpPr>
            <a:spLocks noGrp="1"/>
          </p:cNvSpPr>
          <p:nvPr>
            <p:ph type="body" sz="quarter" idx="15"/>
          </p:nvPr>
        </p:nvSpPr>
        <p:spPr>
          <a:xfrm>
            <a:off x="632033" y="1770964"/>
            <a:ext cx="11064000" cy="47404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spcBef>
                <a:spcPts val="0"/>
              </a:spcBef>
              <a:buSzPct val="100000"/>
              <a:buFontTx/>
              <a:buNone/>
              <a:defRPr sz="1200" b="0" kern="0" baseline="0">
                <a:solidFill>
                  <a:schemeClr val="tx1"/>
                </a:solidFill>
                <a:latin typeface="Arial"/>
              </a:defRPr>
            </a:lvl1pPr>
            <a:lvl2pPr marL="742950" indent="-28575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2pPr>
            <a:lvl3pPr marL="11430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3pPr>
            <a:lvl4pPr marL="16002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4pPr>
            <a:lvl5pPr marL="20574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endParaRPr lang="ro-RO" dirty="0"/>
          </a:p>
        </p:txBody>
      </p:sp>
      <p:sp>
        <p:nvSpPr>
          <p:cNvPr id="15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5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A07125-F287-674A-B4D8-FED3251FDE20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401C0FF0-7DE2-2B0A-9495-E7604AF1568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1816" y="346585"/>
            <a:ext cx="755370" cy="613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5192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2"/>
          <p:cNvSpPr>
            <a:spLocks noGrp="1"/>
          </p:cNvSpPr>
          <p:nvPr>
            <p:ph type="body" sz="quarter" idx="15"/>
          </p:nvPr>
        </p:nvSpPr>
        <p:spPr>
          <a:xfrm>
            <a:off x="632033" y="1770960"/>
            <a:ext cx="11064000" cy="10643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spcBef>
                <a:spcPts val="0"/>
              </a:spcBef>
              <a:buSzPct val="100000"/>
              <a:buFontTx/>
              <a:buNone/>
              <a:defRPr sz="1200" b="0" baseline="0">
                <a:solidFill>
                  <a:schemeClr val="tx1"/>
                </a:solidFill>
                <a:latin typeface="Arial"/>
              </a:defRPr>
            </a:lvl1pPr>
            <a:lvl2pPr marL="742950" indent="-28575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2pPr>
            <a:lvl3pPr marL="11430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3pPr>
            <a:lvl4pPr marL="16002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4pPr>
            <a:lvl5pPr marL="20574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endParaRPr lang="ro-RO" dirty="0"/>
          </a:p>
        </p:txBody>
      </p:sp>
      <p:sp>
        <p:nvSpPr>
          <p:cNvPr id="20" name="Textplatzhalter 15"/>
          <p:cNvSpPr>
            <a:spLocks noGrp="1"/>
          </p:cNvSpPr>
          <p:nvPr>
            <p:ph type="body" sz="quarter" idx="19"/>
          </p:nvPr>
        </p:nvSpPr>
        <p:spPr>
          <a:xfrm>
            <a:off x="632884" y="2978941"/>
            <a:ext cx="11063816" cy="3528000"/>
          </a:xfrm>
          <a:prstGeom prst="rect">
            <a:avLst/>
          </a:prstGeom>
        </p:spPr>
        <p:txBody>
          <a:bodyPr/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6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6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6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6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600" kern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6" name="Foliennummernplatzhalter 10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4D81EC-8C31-054F-B717-4ACEB33BE34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27556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15"/>
          <p:cNvSpPr>
            <a:spLocks noGrp="1"/>
          </p:cNvSpPr>
          <p:nvPr>
            <p:ph type="body" sz="quarter" idx="19"/>
          </p:nvPr>
        </p:nvSpPr>
        <p:spPr>
          <a:xfrm>
            <a:off x="632884" y="1766888"/>
            <a:ext cx="11063816" cy="47412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8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8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8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8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800" kern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0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5" name="Foliennummernplatzhalter 10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E9E765-94CE-0941-BE99-F43834E80C33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54211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3604" y="1767840"/>
            <a:ext cx="11055617" cy="47412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 dirty="0"/>
          </a:p>
        </p:txBody>
      </p:sp>
      <p:sp>
        <p:nvSpPr>
          <p:cNvPr id="14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5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A4BB87-D65B-B741-90D0-3BFE1FF2D190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94769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2"/>
          <p:cNvSpPr>
            <a:spLocks noGrp="1"/>
          </p:cNvSpPr>
          <p:nvPr>
            <p:ph type="body" sz="quarter" idx="15"/>
          </p:nvPr>
        </p:nvSpPr>
        <p:spPr>
          <a:xfrm>
            <a:off x="632038" y="1770964"/>
            <a:ext cx="5402103" cy="47404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spcBef>
                <a:spcPts val="0"/>
              </a:spcBef>
              <a:buSzPct val="100000"/>
              <a:buFontTx/>
              <a:buNone/>
              <a:defRPr sz="1200" b="0" kern="0" baseline="0">
                <a:solidFill>
                  <a:schemeClr val="tx1"/>
                </a:solidFill>
                <a:latin typeface="Arial"/>
              </a:defRPr>
            </a:lvl1pPr>
            <a:lvl2pPr marL="742950" indent="-28575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2pPr>
            <a:lvl3pPr marL="11430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3pPr>
            <a:lvl4pPr marL="16002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4pPr>
            <a:lvl5pPr marL="20574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endParaRPr lang="ro-RO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21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 dirty="0"/>
          </a:p>
        </p:txBody>
      </p:sp>
      <p:sp>
        <p:nvSpPr>
          <p:cNvPr id="15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6308422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7" name="Foliennummernplatzhalter 1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549947-ECEE-CD4E-8E00-25DB9EFCD1C0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846344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21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 dirty="0"/>
          </a:p>
        </p:txBody>
      </p:sp>
      <p:sp>
        <p:nvSpPr>
          <p:cNvPr id="15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6308422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0" name="Bildplatzhalter 13"/>
          <p:cNvSpPr>
            <a:spLocks noGrp="1"/>
          </p:cNvSpPr>
          <p:nvPr>
            <p:ph type="pic" sz="quarter" idx="18"/>
          </p:nvPr>
        </p:nvSpPr>
        <p:spPr>
          <a:xfrm>
            <a:off x="632368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 dirty="0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9"/>
          </p:nvPr>
        </p:nvSpPr>
        <p:spPr>
          <a:xfrm>
            <a:off x="632369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Foliennummernplatzhalter 10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C90C2B-DDFC-DE4D-9708-9CA1E81D3CA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63261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.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21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 dirty="0"/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20"/>
          </p:nvPr>
        </p:nvSpPr>
        <p:spPr>
          <a:xfrm>
            <a:off x="632884" y="1771655"/>
            <a:ext cx="5401253" cy="4739759"/>
          </a:xfrm>
          <a:prstGeom prst="rect">
            <a:avLst/>
          </a:prstGeom>
        </p:spPr>
        <p:txBody>
          <a:bodyPr/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6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6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6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6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600" kern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2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6308422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Foliennummernplatzhalter 10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5DF636-10E3-C843-BAEB-4F17E52BCE0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1528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Aufz.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2"/>
          <p:cNvSpPr>
            <a:spLocks noGrp="1"/>
          </p:cNvSpPr>
          <p:nvPr>
            <p:ph type="body" sz="quarter" idx="15"/>
          </p:nvPr>
        </p:nvSpPr>
        <p:spPr>
          <a:xfrm>
            <a:off x="632038" y="1770960"/>
            <a:ext cx="5402103" cy="16099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spcBef>
                <a:spcPts val="0"/>
              </a:spcBef>
              <a:buSzPct val="100000"/>
              <a:buFontTx/>
              <a:buNone/>
              <a:defRPr sz="1200" b="0" baseline="0">
                <a:solidFill>
                  <a:schemeClr val="tx1"/>
                </a:solidFill>
                <a:latin typeface="Arial"/>
              </a:defRPr>
            </a:lvl1pPr>
            <a:lvl2pPr marL="742950" indent="-28575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2pPr>
            <a:lvl3pPr marL="11430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3pPr>
            <a:lvl4pPr marL="16002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4pPr>
            <a:lvl5pPr marL="2057400" indent="-228600">
              <a:buSzPct val="100000"/>
              <a:buFontTx/>
              <a:buBlip>
                <a:blip r:embed="rId2"/>
              </a:buBlip>
              <a:defRPr sz="1400" baseline="0">
                <a:solidFill>
                  <a:schemeClr val="tx1"/>
                </a:solidFill>
                <a:latin typeface="Arial"/>
              </a:defRPr>
            </a:lvl5pPr>
          </a:lstStyle>
          <a:p>
            <a:pPr lvl="0"/>
            <a:endParaRPr lang="ro-RO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308421" y="1771651"/>
            <a:ext cx="5380801" cy="446850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endParaRPr lang="de-DE" noProof="0" dirty="0"/>
          </a:p>
        </p:txBody>
      </p:sp>
      <p:sp>
        <p:nvSpPr>
          <p:cNvPr id="23" name="Textplatzhalter 15"/>
          <p:cNvSpPr>
            <a:spLocks noGrp="1"/>
          </p:cNvSpPr>
          <p:nvPr>
            <p:ph type="body" sz="quarter" idx="20"/>
          </p:nvPr>
        </p:nvSpPr>
        <p:spPr>
          <a:xfrm>
            <a:off x="632884" y="3541926"/>
            <a:ext cx="5401253" cy="2969489"/>
          </a:xfrm>
          <a:prstGeom prst="rect">
            <a:avLst/>
          </a:prstGeom>
        </p:spPr>
        <p:txBody>
          <a:bodyPr/>
          <a:lstStyle>
            <a:lvl1pPr marL="0" indent="360000">
              <a:lnSpc>
                <a:spcPct val="150000"/>
              </a:lnSpc>
              <a:spcBef>
                <a:spcPts val="0"/>
              </a:spcBef>
              <a:defRPr sz="1600" b="1" kern="0"/>
            </a:lvl1pPr>
            <a:lvl2pPr marL="360000" indent="360000">
              <a:lnSpc>
                <a:spcPct val="150000"/>
              </a:lnSpc>
              <a:spcBef>
                <a:spcPts val="0"/>
              </a:spcBef>
              <a:defRPr sz="1600" kern="0"/>
            </a:lvl2pPr>
            <a:lvl3pPr marL="720000" indent="360000">
              <a:lnSpc>
                <a:spcPct val="150000"/>
              </a:lnSpc>
              <a:spcBef>
                <a:spcPts val="0"/>
              </a:spcBef>
              <a:defRPr sz="1600" kern="0"/>
            </a:lvl3pPr>
            <a:lvl4pPr marL="1080000" indent="360000">
              <a:lnSpc>
                <a:spcPct val="150000"/>
              </a:lnSpc>
              <a:spcBef>
                <a:spcPts val="0"/>
              </a:spcBef>
              <a:defRPr sz="1600" kern="0"/>
            </a:lvl4pPr>
            <a:lvl5pPr marL="1440000" indent="360000">
              <a:lnSpc>
                <a:spcPct val="150000"/>
              </a:lnSpc>
              <a:spcBef>
                <a:spcPts val="0"/>
              </a:spcBef>
              <a:defRPr sz="1600" kern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6" name="Titelplatzhalter 16"/>
          <p:cNvSpPr>
            <a:spLocks noGrp="1"/>
          </p:cNvSpPr>
          <p:nvPr>
            <p:ph type="title"/>
          </p:nvPr>
        </p:nvSpPr>
        <p:spPr>
          <a:xfrm>
            <a:off x="393600" y="406800"/>
            <a:ext cx="9753600" cy="3276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393600" y="745067"/>
            <a:ext cx="9753600" cy="342054"/>
          </a:xfr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5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6308422" y="6398644"/>
            <a:ext cx="5380801" cy="1127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1" baseline="0">
                <a:solidFill>
                  <a:schemeClr val="tx1"/>
                </a:solidFill>
                <a:latin typeface="Arial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Foliennummernplatzhalter 10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35EDBF-F42E-4A47-ACDB-0E72DDFC05E8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87728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955220B0-981B-4B91-8046-7C7E0856AB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0" y="3372107"/>
            <a:ext cx="5368925" cy="1654772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0" indent="0" algn="r">
              <a:lnSpc>
                <a:spcPct val="80000"/>
              </a:lnSpc>
              <a:buNone/>
              <a:defRPr sz="3600" i="1">
                <a:solidFill>
                  <a:srgbClr val="00599C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DFEA872E-0143-412F-8A3E-399C96D85C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21725" y="6231025"/>
            <a:ext cx="2743200" cy="36512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600">
                <a:solidFill>
                  <a:srgbClr val="00599C"/>
                </a:solidFill>
              </a:defRPr>
            </a:lvl1pPr>
          </a:lstStyle>
          <a:p>
            <a:fld id="{54E47B7E-1879-468C-AC6C-74FE3DD743D1}" type="datetime1">
              <a:rPr lang="de-DE" smtClean="0"/>
              <a:pPr/>
              <a:t>28.12.24</a:t>
            </a:fld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99ABBF9E-483A-49E3-B63F-F34D49842C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0" y="5160963"/>
            <a:ext cx="5368925" cy="5524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buFontTx/>
              <a:buNone/>
              <a:defRPr sz="1600" b="1" i="1" baseline="0">
                <a:solidFill>
                  <a:srgbClr val="575756"/>
                </a:solidFill>
                <a:latin typeface="Arial" panose="020B0604020202020204" pitchFamily="34" charset="0"/>
              </a:defRPr>
            </a:lvl1pPr>
            <a:lvl2pPr marL="4572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2pPr>
            <a:lvl3pPr marL="9144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3pPr>
            <a:lvl4pPr marL="13716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4pPr>
            <a:lvl5pPr marL="1828800" indent="0">
              <a:buFontTx/>
              <a:buNone/>
              <a:defRPr sz="1600" b="1" i="0" baseline="0">
                <a:solidFill>
                  <a:srgbClr val="575756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024890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/>
  <p:extLst>
    <p:ext uri="{DCECCB84-F9BA-43D5-87BE-67443E8EF086}">
      <p15:sldGuideLst xmlns:p15="http://schemas.microsoft.com/office/powerpoint/2012/main">
        <p15:guide id="1" orient="horz" pos="2092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31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234">
          <p15:clr>
            <a:srgbClr val="FBAE40"/>
          </p15:clr>
        </p15:guide>
        <p15:guide id="6" pos="7222">
          <p15:clr>
            <a:srgbClr val="FBAE40"/>
          </p15:clr>
        </p15:guide>
        <p15:guide id="7" orient="horz" pos="325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8" name="Rechteck 2">
            <a:extLst>
              <a:ext uri="{FF2B5EF4-FFF2-40B4-BE49-F238E27FC236}">
                <a16:creationId xmlns:a16="http://schemas.microsoft.com/office/drawing/2014/main" id="{7797BBE1-954D-E4C1-E1DC-637E28421130}"/>
              </a:ext>
            </a:extLst>
          </p:cNvPr>
          <p:cNvSpPr/>
          <p:nvPr userDrawn="1"/>
        </p:nvSpPr>
        <p:spPr>
          <a:xfrm rot="900000">
            <a:off x="7915061" y="2023018"/>
            <a:ext cx="4743438" cy="5570800"/>
          </a:xfrm>
          <a:custGeom>
            <a:avLst/>
            <a:gdLst>
              <a:gd name="connsiteX0" fmla="*/ 0 w 4937060"/>
              <a:gd name="connsiteY0" fmla="*/ 0 h 5843634"/>
              <a:gd name="connsiteX1" fmla="*/ 4937060 w 4937060"/>
              <a:gd name="connsiteY1" fmla="*/ 0 h 5843634"/>
              <a:gd name="connsiteX2" fmla="*/ 4937060 w 4937060"/>
              <a:gd name="connsiteY2" fmla="*/ 5843634 h 5843634"/>
              <a:gd name="connsiteX3" fmla="*/ 0 w 4937060"/>
              <a:gd name="connsiteY3" fmla="*/ 5843634 h 5843634"/>
              <a:gd name="connsiteX4" fmla="*/ 0 w 4937060"/>
              <a:gd name="connsiteY4" fmla="*/ 0 h 5843634"/>
              <a:gd name="connsiteX0" fmla="*/ 0 w 4937060"/>
              <a:gd name="connsiteY0" fmla="*/ 3186 h 5846820"/>
              <a:gd name="connsiteX1" fmla="*/ 3593274 w 4937060"/>
              <a:gd name="connsiteY1" fmla="*/ 0 h 5846820"/>
              <a:gd name="connsiteX2" fmla="*/ 4937060 w 4937060"/>
              <a:gd name="connsiteY2" fmla="*/ 5846820 h 5846820"/>
              <a:gd name="connsiteX3" fmla="*/ 0 w 4937060"/>
              <a:gd name="connsiteY3" fmla="*/ 5846820 h 5846820"/>
              <a:gd name="connsiteX4" fmla="*/ 0 w 4937060"/>
              <a:gd name="connsiteY4" fmla="*/ 3186 h 5846820"/>
              <a:gd name="connsiteX0" fmla="*/ 0 w 4743438"/>
              <a:gd name="connsiteY0" fmla="*/ 3186 h 5846820"/>
              <a:gd name="connsiteX1" fmla="*/ 3593274 w 4743438"/>
              <a:gd name="connsiteY1" fmla="*/ 0 h 5846820"/>
              <a:gd name="connsiteX2" fmla="*/ 4743438 w 4743438"/>
              <a:gd name="connsiteY2" fmla="*/ 4302594 h 5846820"/>
              <a:gd name="connsiteX3" fmla="*/ 0 w 4743438"/>
              <a:gd name="connsiteY3" fmla="*/ 5846820 h 5846820"/>
              <a:gd name="connsiteX4" fmla="*/ 0 w 4743438"/>
              <a:gd name="connsiteY4" fmla="*/ 3186 h 5846820"/>
              <a:gd name="connsiteX0" fmla="*/ 0 w 4743438"/>
              <a:gd name="connsiteY0" fmla="*/ 3186 h 5570800"/>
              <a:gd name="connsiteX1" fmla="*/ 3593274 w 4743438"/>
              <a:gd name="connsiteY1" fmla="*/ 0 h 5570800"/>
              <a:gd name="connsiteX2" fmla="*/ 4743438 w 4743438"/>
              <a:gd name="connsiteY2" fmla="*/ 4302594 h 5570800"/>
              <a:gd name="connsiteX3" fmla="*/ 3093 w 4743438"/>
              <a:gd name="connsiteY3" fmla="*/ 5570800 h 5570800"/>
              <a:gd name="connsiteX4" fmla="*/ 0 w 4743438"/>
              <a:gd name="connsiteY4" fmla="*/ 3186 h 557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43438" h="5570800">
                <a:moveTo>
                  <a:pt x="0" y="3186"/>
                </a:moveTo>
                <a:lnTo>
                  <a:pt x="3593274" y="0"/>
                </a:lnTo>
                <a:lnTo>
                  <a:pt x="4743438" y="4302594"/>
                </a:lnTo>
                <a:lnTo>
                  <a:pt x="3093" y="5570800"/>
                </a:lnTo>
                <a:lnTo>
                  <a:pt x="0" y="3186"/>
                </a:lnTo>
                <a:close/>
              </a:path>
            </a:pathLst>
          </a:custGeom>
          <a:solidFill>
            <a:srgbClr val="005A9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kzidenz-Grotesk Next Regular"/>
              <a:ea typeface="+mn-ea"/>
              <a:cs typeface="+mn-cs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CA1A560-082E-2016-A40A-F5009AF36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4" name="Inhaltsplatzhalter 8">
            <a:extLst>
              <a:ext uri="{FF2B5EF4-FFF2-40B4-BE49-F238E27FC236}">
                <a16:creationId xmlns:a16="http://schemas.microsoft.com/office/drawing/2014/main" id="{3272D902-0554-FBF7-C3F2-8BCC4F9A085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16394244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CA1A560-082E-2016-A40A-F5009AF36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4" name="Inhaltsplatzhalter 8">
            <a:extLst>
              <a:ext uri="{FF2B5EF4-FFF2-40B4-BE49-F238E27FC236}">
                <a16:creationId xmlns:a16="http://schemas.microsoft.com/office/drawing/2014/main" id="{3272D902-0554-FBF7-C3F2-8BCC4F9A085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  <p:sp>
        <p:nvSpPr>
          <p:cNvPr id="9" name="Rechteck 4">
            <a:extLst>
              <a:ext uri="{FF2B5EF4-FFF2-40B4-BE49-F238E27FC236}">
                <a16:creationId xmlns:a16="http://schemas.microsoft.com/office/drawing/2014/main" id="{19FF2D26-B569-39E6-E876-1EBA05CB33EB}"/>
              </a:ext>
            </a:extLst>
          </p:cNvPr>
          <p:cNvSpPr/>
          <p:nvPr userDrawn="1"/>
        </p:nvSpPr>
        <p:spPr>
          <a:xfrm rot="900000">
            <a:off x="6921781" y="-502505"/>
            <a:ext cx="6205790" cy="8324029"/>
          </a:xfrm>
          <a:custGeom>
            <a:avLst/>
            <a:gdLst>
              <a:gd name="connsiteX0" fmla="*/ 0 w 5166047"/>
              <a:gd name="connsiteY0" fmla="*/ 0 h 7103738"/>
              <a:gd name="connsiteX1" fmla="*/ 5166047 w 5166047"/>
              <a:gd name="connsiteY1" fmla="*/ 0 h 7103738"/>
              <a:gd name="connsiteX2" fmla="*/ 5166047 w 5166047"/>
              <a:gd name="connsiteY2" fmla="*/ 7103738 h 7103738"/>
              <a:gd name="connsiteX3" fmla="*/ 0 w 5166047"/>
              <a:gd name="connsiteY3" fmla="*/ 7103738 h 7103738"/>
              <a:gd name="connsiteX4" fmla="*/ 0 w 5166047"/>
              <a:gd name="connsiteY4" fmla="*/ 0 h 7103738"/>
              <a:gd name="connsiteX0" fmla="*/ 0 w 5166047"/>
              <a:gd name="connsiteY0" fmla="*/ 1073163 h 8176901"/>
              <a:gd name="connsiteX1" fmla="*/ 3953853 w 5166047"/>
              <a:gd name="connsiteY1" fmla="*/ 0 h 8176901"/>
              <a:gd name="connsiteX2" fmla="*/ 5166047 w 5166047"/>
              <a:gd name="connsiteY2" fmla="*/ 8176901 h 8176901"/>
              <a:gd name="connsiteX3" fmla="*/ 0 w 5166047"/>
              <a:gd name="connsiteY3" fmla="*/ 8176901 h 8176901"/>
              <a:gd name="connsiteX4" fmla="*/ 0 w 5166047"/>
              <a:gd name="connsiteY4" fmla="*/ 1073163 h 8176901"/>
              <a:gd name="connsiteX0" fmla="*/ 0 w 5725841"/>
              <a:gd name="connsiteY0" fmla="*/ 1073163 h 8176901"/>
              <a:gd name="connsiteX1" fmla="*/ 3953853 w 5725841"/>
              <a:gd name="connsiteY1" fmla="*/ 0 h 8176901"/>
              <a:gd name="connsiteX2" fmla="*/ 5725841 w 5725841"/>
              <a:gd name="connsiteY2" fmla="*/ 6650950 h 8176901"/>
              <a:gd name="connsiteX3" fmla="*/ 0 w 5725841"/>
              <a:gd name="connsiteY3" fmla="*/ 8176901 h 8176901"/>
              <a:gd name="connsiteX4" fmla="*/ 0 w 5725841"/>
              <a:gd name="connsiteY4" fmla="*/ 1073163 h 8176901"/>
              <a:gd name="connsiteX0" fmla="*/ 0 w 5725841"/>
              <a:gd name="connsiteY0" fmla="*/ 1196999 h 8300737"/>
              <a:gd name="connsiteX1" fmla="*/ 4416016 w 5725841"/>
              <a:gd name="connsiteY1" fmla="*/ 0 h 8300737"/>
              <a:gd name="connsiteX2" fmla="*/ 5725841 w 5725841"/>
              <a:gd name="connsiteY2" fmla="*/ 6774786 h 8300737"/>
              <a:gd name="connsiteX3" fmla="*/ 0 w 5725841"/>
              <a:gd name="connsiteY3" fmla="*/ 8300737 h 8300737"/>
              <a:gd name="connsiteX4" fmla="*/ 0 w 5725841"/>
              <a:gd name="connsiteY4" fmla="*/ 1196999 h 8300737"/>
              <a:gd name="connsiteX0" fmla="*/ 0 w 6201024"/>
              <a:gd name="connsiteY0" fmla="*/ 1196999 h 8300737"/>
              <a:gd name="connsiteX1" fmla="*/ 4416016 w 6201024"/>
              <a:gd name="connsiteY1" fmla="*/ 0 h 8300737"/>
              <a:gd name="connsiteX2" fmla="*/ 6201024 w 6201024"/>
              <a:gd name="connsiteY2" fmla="*/ 6658469 h 8300737"/>
              <a:gd name="connsiteX3" fmla="*/ 0 w 6201024"/>
              <a:gd name="connsiteY3" fmla="*/ 8300737 h 8300737"/>
              <a:gd name="connsiteX4" fmla="*/ 0 w 6201024"/>
              <a:gd name="connsiteY4" fmla="*/ 1196999 h 8300737"/>
              <a:gd name="connsiteX0" fmla="*/ 4766 w 6205790"/>
              <a:gd name="connsiteY0" fmla="*/ 1196999 h 8324029"/>
              <a:gd name="connsiteX1" fmla="*/ 4420782 w 6205790"/>
              <a:gd name="connsiteY1" fmla="*/ 0 h 8324029"/>
              <a:gd name="connsiteX2" fmla="*/ 6205790 w 6205790"/>
              <a:gd name="connsiteY2" fmla="*/ 6658469 h 8324029"/>
              <a:gd name="connsiteX3" fmla="*/ 0 w 6205790"/>
              <a:gd name="connsiteY3" fmla="*/ 8324029 h 8324029"/>
              <a:gd name="connsiteX4" fmla="*/ 4766 w 6205790"/>
              <a:gd name="connsiteY4" fmla="*/ 1196999 h 8324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05790" h="8324029">
                <a:moveTo>
                  <a:pt x="4766" y="1196999"/>
                </a:moveTo>
                <a:lnTo>
                  <a:pt x="4420782" y="0"/>
                </a:lnTo>
                <a:lnTo>
                  <a:pt x="6205790" y="6658469"/>
                </a:lnTo>
                <a:lnTo>
                  <a:pt x="0" y="8324029"/>
                </a:lnTo>
                <a:cubicBezTo>
                  <a:pt x="1589" y="5948352"/>
                  <a:pt x="3177" y="3572676"/>
                  <a:pt x="4766" y="1196999"/>
                </a:cubicBezTo>
                <a:close/>
              </a:path>
            </a:pathLst>
          </a:custGeom>
          <a:solidFill>
            <a:srgbClr val="005A9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kzidenz-Grotesk Next Regular"/>
              <a:ea typeface="+mn-ea"/>
              <a:cs typeface="+mn-cs"/>
            </a:endParaRPr>
          </a:p>
        </p:txBody>
      </p:sp>
      <p:pic>
        <p:nvPicPr>
          <p:cNvPr id="10" name="Inhaltsplatzhalter 8">
            <a:extLst>
              <a:ext uri="{FF2B5EF4-FFF2-40B4-BE49-F238E27FC236}">
                <a16:creationId xmlns:a16="http://schemas.microsoft.com/office/drawing/2014/main" id="{CA39A26B-9A3F-B5D2-47E6-6D4AF8ED2D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1660" y="676124"/>
            <a:ext cx="744279" cy="709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92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CB17A1EE-84D9-2D86-9343-309B92DED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8" name="Inhaltsplatzhalter 8">
            <a:extLst>
              <a:ext uri="{FF2B5EF4-FFF2-40B4-BE49-F238E27FC236}">
                <a16:creationId xmlns:a16="http://schemas.microsoft.com/office/drawing/2014/main" id="{AAB17722-489A-13FD-A35A-D8CB100B7F4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10307809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E2D6EFB-4C49-570C-61D9-7E44A040D2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9FEC2A8-9949-D70D-F0E8-34F91D6DF8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28A6E2C8-0724-8FBD-37E0-84AD813C23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7" name="Inhaltsplatzhalter 8">
            <a:extLst>
              <a:ext uri="{FF2B5EF4-FFF2-40B4-BE49-F238E27FC236}">
                <a16:creationId xmlns:a16="http://schemas.microsoft.com/office/drawing/2014/main" id="{755DAC17-192C-C2BB-264C-B8C5B802E13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20311247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18E80EAF-E5FB-8104-6451-3CF39FD5E8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468500"/>
            <a:ext cx="9248434" cy="43895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5D67520-7C8F-7613-5DF1-EFDF91368F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06240" y="1122363"/>
            <a:ext cx="744855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 b="1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E8A0071-FB47-AC68-D7DB-3B7970DE04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5620" y="4140023"/>
            <a:ext cx="4525515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42ADB0B-7CAA-17E0-560E-EDE236D7D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3779BA7-0B48-B00D-6BAF-B396D1180B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96690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AAB4838-1A6D-26A3-2490-24EED1DDC6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468500"/>
            <a:ext cx="9248434" cy="4389500"/>
          </a:xfrm>
          <a:prstGeom prst="rect">
            <a:avLst/>
          </a:prstGeo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49E9FB2-15AD-4BAD-B5DA-63EA35E480F0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CA1A560-082E-2016-A40A-F5009AF36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4" name="Inhaltsplatzhalter 8">
            <a:extLst>
              <a:ext uri="{FF2B5EF4-FFF2-40B4-BE49-F238E27FC236}">
                <a16:creationId xmlns:a16="http://schemas.microsoft.com/office/drawing/2014/main" id="{3272D902-0554-FBF7-C3F2-8BCC4F9A085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10469671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D6A65-D5C1-62AA-1185-F250E93E1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100B22-DF33-65BB-0007-83E000494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CF9979-3C66-1549-190E-5E0F6FBD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CB17A1EE-84D9-2D86-9343-309B92DED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460" y="664647"/>
            <a:ext cx="1013234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Überschrift 2</a:t>
            </a:r>
          </a:p>
        </p:txBody>
      </p:sp>
      <p:sp>
        <p:nvSpPr>
          <p:cNvPr id="8" name="Inhaltsplatzhalter 8">
            <a:extLst>
              <a:ext uri="{FF2B5EF4-FFF2-40B4-BE49-F238E27FC236}">
                <a16:creationId xmlns:a16="http://schemas.microsoft.com/office/drawing/2014/main" id="{AAB17722-489A-13FD-A35A-D8CB100B7F4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472167"/>
            <a:ext cx="10134600" cy="504825"/>
          </a:xfrm>
        </p:spPr>
        <p:txBody>
          <a:bodyPr/>
          <a:lstStyle>
            <a:lvl1pPr marL="0" indent="0">
              <a:buNone/>
              <a:defRPr sz="2000">
                <a:solidFill>
                  <a:srgbClr val="005A96"/>
                </a:solidFill>
              </a:defRPr>
            </a:lvl1pPr>
          </a:lstStyle>
          <a:p>
            <a:pPr lvl="0"/>
            <a:r>
              <a:rPr lang="de-DE" dirty="0"/>
              <a:t>Überschrift 1</a:t>
            </a:r>
          </a:p>
        </p:txBody>
      </p:sp>
    </p:spTree>
    <p:extLst>
      <p:ext uri="{BB962C8B-B14F-4D97-AF65-F5344CB8AC3E}">
        <p14:creationId xmlns:p14="http://schemas.microsoft.com/office/powerpoint/2010/main" val="42788648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4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6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1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6.xml"/><Relationship Id="rId7" Type="http://schemas.openxmlformats.org/officeDocument/2006/relationships/tags" Target="../tags/tag5.xml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4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ags" Target="../tags/tag6.xml"/><Relationship Id="rId17" Type="http://schemas.openxmlformats.org/officeDocument/2006/relationships/image" Target="../media/image12.emf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11.emf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23.xml"/><Relationship Id="rId15" Type="http://schemas.openxmlformats.org/officeDocument/2006/relationships/image" Target="../media/image10.emf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69E5155-9253-EBF8-86B8-2AC7A14C62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71507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 descr="Ein Bild, das Text enthält.&#10;&#10;Automatisch generierte Beschreibung">
            <a:extLst>
              <a:ext uri="{FF2B5EF4-FFF2-40B4-BE49-F238E27FC236}">
                <a16:creationId xmlns:a16="http://schemas.microsoft.com/office/drawing/2014/main" id="{B4A9B2F0-3FEC-5503-6AB9-6A9A08D98B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0864" y="473284"/>
            <a:ext cx="3220152" cy="1416107"/>
          </a:xfrm>
          <a:prstGeom prst="rect">
            <a:avLst/>
          </a:prstGeom>
        </p:spPr>
      </p:pic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2C4B237F-1D3E-5D6E-2340-BBADACC6DE4B}"/>
              </a:ext>
            </a:extLst>
          </p:cNvPr>
          <p:cNvGrpSpPr/>
          <p:nvPr userDrawn="1"/>
        </p:nvGrpSpPr>
        <p:grpSpPr>
          <a:xfrm>
            <a:off x="-990690" y="1772087"/>
            <a:ext cx="10849815" cy="6178838"/>
            <a:chOff x="-13375759" y="5567763"/>
            <a:chExt cx="10849815" cy="6178838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8DB640FA-9CF3-32D3-C002-A98F1AE2B61D}"/>
                </a:ext>
              </a:extLst>
            </p:cNvPr>
            <p:cNvSpPr/>
            <p:nvPr/>
          </p:nvSpPr>
          <p:spPr>
            <a:xfrm rot="900000">
              <a:off x="-13375759" y="5567763"/>
              <a:ext cx="10849815" cy="6178836"/>
            </a:xfrm>
            <a:custGeom>
              <a:avLst/>
              <a:gdLst>
                <a:gd name="connsiteX0" fmla="*/ 0 w 10099103"/>
                <a:gd name="connsiteY0" fmla="*/ 0 h 5805182"/>
                <a:gd name="connsiteX1" fmla="*/ 10099103 w 10099103"/>
                <a:gd name="connsiteY1" fmla="*/ 0 h 5805182"/>
                <a:gd name="connsiteX2" fmla="*/ 10099103 w 10099103"/>
                <a:gd name="connsiteY2" fmla="*/ 5805182 h 5805182"/>
                <a:gd name="connsiteX3" fmla="*/ 0 w 10099103"/>
                <a:gd name="connsiteY3" fmla="*/ 5805182 h 5805182"/>
                <a:gd name="connsiteX4" fmla="*/ 0 w 10099103"/>
                <a:gd name="connsiteY4" fmla="*/ 0 h 5805182"/>
                <a:gd name="connsiteX0" fmla="*/ 0 w 10099103"/>
                <a:gd name="connsiteY0" fmla="*/ 0 h 5805182"/>
                <a:gd name="connsiteX1" fmla="*/ 10099103 w 10099103"/>
                <a:gd name="connsiteY1" fmla="*/ 0 h 5805182"/>
                <a:gd name="connsiteX2" fmla="*/ 10095599 w 10099103"/>
                <a:gd name="connsiteY2" fmla="*/ 3450487 h 5805182"/>
                <a:gd name="connsiteX3" fmla="*/ 0 w 10099103"/>
                <a:gd name="connsiteY3" fmla="*/ 5805182 h 5805182"/>
                <a:gd name="connsiteX4" fmla="*/ 0 w 10099103"/>
                <a:gd name="connsiteY4" fmla="*/ 0 h 5805182"/>
                <a:gd name="connsiteX0" fmla="*/ 0 w 10099103"/>
                <a:gd name="connsiteY0" fmla="*/ 0 h 5751315"/>
                <a:gd name="connsiteX1" fmla="*/ 10099103 w 10099103"/>
                <a:gd name="connsiteY1" fmla="*/ 0 h 5751315"/>
                <a:gd name="connsiteX2" fmla="*/ 10095599 w 10099103"/>
                <a:gd name="connsiteY2" fmla="*/ 3450487 h 5751315"/>
                <a:gd name="connsiteX3" fmla="*/ 1515627 w 10099103"/>
                <a:gd name="connsiteY3" fmla="*/ 5751315 h 5751315"/>
                <a:gd name="connsiteX4" fmla="*/ 0 w 10099103"/>
                <a:gd name="connsiteY4" fmla="*/ 0 h 5751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99103" h="5751315">
                  <a:moveTo>
                    <a:pt x="0" y="0"/>
                  </a:moveTo>
                  <a:lnTo>
                    <a:pt x="10099103" y="0"/>
                  </a:lnTo>
                  <a:lnTo>
                    <a:pt x="10095599" y="3450487"/>
                  </a:lnTo>
                  <a:lnTo>
                    <a:pt x="1515627" y="5751315"/>
                  </a:lnTo>
                  <a:lnTo>
                    <a:pt x="0" y="0"/>
                  </a:lnTo>
                  <a:close/>
                </a:path>
              </a:pathLst>
            </a:custGeom>
            <a:blipFill dpi="0" rotWithShape="0"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" name="Rechteck 3">
              <a:extLst>
                <a:ext uri="{FF2B5EF4-FFF2-40B4-BE49-F238E27FC236}">
                  <a16:creationId xmlns:a16="http://schemas.microsoft.com/office/drawing/2014/main" id="{7FBA1A7C-1D52-055F-6AA8-6300F602C51C}"/>
                </a:ext>
              </a:extLst>
            </p:cNvPr>
            <p:cNvSpPr/>
            <p:nvPr/>
          </p:nvSpPr>
          <p:spPr>
            <a:xfrm rot="900000">
              <a:off x="-13375759" y="5567765"/>
              <a:ext cx="10849815" cy="6178836"/>
            </a:xfrm>
            <a:custGeom>
              <a:avLst/>
              <a:gdLst>
                <a:gd name="connsiteX0" fmla="*/ 0 w 10099103"/>
                <a:gd name="connsiteY0" fmla="*/ 0 h 5805182"/>
                <a:gd name="connsiteX1" fmla="*/ 10099103 w 10099103"/>
                <a:gd name="connsiteY1" fmla="*/ 0 h 5805182"/>
                <a:gd name="connsiteX2" fmla="*/ 10099103 w 10099103"/>
                <a:gd name="connsiteY2" fmla="*/ 5805182 h 5805182"/>
                <a:gd name="connsiteX3" fmla="*/ 0 w 10099103"/>
                <a:gd name="connsiteY3" fmla="*/ 5805182 h 5805182"/>
                <a:gd name="connsiteX4" fmla="*/ 0 w 10099103"/>
                <a:gd name="connsiteY4" fmla="*/ 0 h 5805182"/>
                <a:gd name="connsiteX0" fmla="*/ 0 w 10099103"/>
                <a:gd name="connsiteY0" fmla="*/ 0 h 5805182"/>
                <a:gd name="connsiteX1" fmla="*/ 10099103 w 10099103"/>
                <a:gd name="connsiteY1" fmla="*/ 0 h 5805182"/>
                <a:gd name="connsiteX2" fmla="*/ 10095599 w 10099103"/>
                <a:gd name="connsiteY2" fmla="*/ 3450487 h 5805182"/>
                <a:gd name="connsiteX3" fmla="*/ 0 w 10099103"/>
                <a:gd name="connsiteY3" fmla="*/ 5805182 h 5805182"/>
                <a:gd name="connsiteX4" fmla="*/ 0 w 10099103"/>
                <a:gd name="connsiteY4" fmla="*/ 0 h 5805182"/>
                <a:gd name="connsiteX0" fmla="*/ 0 w 10099103"/>
                <a:gd name="connsiteY0" fmla="*/ 0 h 5751315"/>
                <a:gd name="connsiteX1" fmla="*/ 10099103 w 10099103"/>
                <a:gd name="connsiteY1" fmla="*/ 0 h 5751315"/>
                <a:gd name="connsiteX2" fmla="*/ 10095599 w 10099103"/>
                <a:gd name="connsiteY2" fmla="*/ 3450487 h 5751315"/>
                <a:gd name="connsiteX3" fmla="*/ 1515627 w 10099103"/>
                <a:gd name="connsiteY3" fmla="*/ 5751315 h 5751315"/>
                <a:gd name="connsiteX4" fmla="*/ 0 w 10099103"/>
                <a:gd name="connsiteY4" fmla="*/ 0 h 5751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99103" h="5751315">
                  <a:moveTo>
                    <a:pt x="0" y="0"/>
                  </a:moveTo>
                  <a:lnTo>
                    <a:pt x="10099103" y="0"/>
                  </a:lnTo>
                  <a:lnTo>
                    <a:pt x="10095599" y="3450487"/>
                  </a:lnTo>
                  <a:lnTo>
                    <a:pt x="1515627" y="57513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599C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7128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i="1" kern="1200" baseline="0">
          <a:solidFill>
            <a:srgbClr val="00599C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231">
          <p15:clr>
            <a:srgbClr val="F26B43"/>
          </p15:clr>
        </p15:guide>
        <p15:guide id="4" orient="horz" pos="4088">
          <p15:clr>
            <a:srgbClr val="F26B43"/>
          </p15:clr>
        </p15:guide>
        <p15:guide id="5" pos="7222">
          <p15:clr>
            <a:srgbClr val="F26B43"/>
          </p15:clr>
        </p15:guide>
        <p15:guide id="6" pos="23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AA32A68-51B0-73DF-A0C5-0F2A3798E8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860507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3" imgH="384" progId="TCLayout.ActiveDocument.1">
                  <p:embed/>
                </p:oleObj>
              </mc:Choice>
              <mc:Fallback>
                <p:oleObj name="think-cell Folie" r:id="rId8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01371E-4544-75B8-D485-0F870F504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362" y="831622"/>
            <a:ext cx="1051560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1DAA8A-A072-30FB-5A29-BEDF1BA61E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4C77381-C8DE-AA6A-B090-EC30F9DC7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71849" y="6384281"/>
            <a:ext cx="7981949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599C"/>
                </a:solidFill>
                <a:latin typeface="TSTAR" panose="020B060402020202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7797124-5E91-158D-04D9-D0ECF53882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5620" y="6384281"/>
            <a:ext cx="2579280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rgbClr val="00599C"/>
                </a:solidFill>
                <a:latin typeface="TSTAR" panose="020B060402020202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pic>
        <p:nvPicPr>
          <p:cNvPr id="17" name="Inhaltsplatzhalter 8">
            <a:extLst>
              <a:ext uri="{FF2B5EF4-FFF2-40B4-BE49-F238E27FC236}">
                <a16:creationId xmlns:a16="http://schemas.microsoft.com/office/drawing/2014/main" id="{934346E9-1737-7679-FB00-125D562B225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1660" y="676124"/>
            <a:ext cx="744279" cy="709391"/>
          </a:xfrm>
          <a:prstGeom prst="rect">
            <a:avLst/>
          </a:prstGeom>
        </p:spPr>
      </p:pic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58D1D845-7E4B-2EC9-45C4-EC760D5BE5B6}"/>
              </a:ext>
            </a:extLst>
          </p:cNvPr>
          <p:cNvCxnSpPr>
            <a:cxnSpLocks/>
          </p:cNvCxnSpPr>
          <p:nvPr userDrawn="1"/>
        </p:nvCxnSpPr>
        <p:spPr>
          <a:xfrm>
            <a:off x="509920" y="621399"/>
            <a:ext cx="0" cy="5615202"/>
          </a:xfrm>
          <a:prstGeom prst="line">
            <a:avLst/>
          </a:prstGeom>
          <a:noFill/>
          <a:ln w="28575" cap="flat" cmpd="sng" algn="ctr">
            <a:solidFill>
              <a:srgbClr val="00599C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443213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90" r:id="rId3"/>
    <p:sldLayoutId id="2147483677" r:id="rId4"/>
    <p:sldLayoutId id="2147483678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rgbClr val="00599C"/>
          </a:solidFill>
          <a:latin typeface="TSTAR" panose="020B060402020202020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A5E5612-9CE0-1B4F-EC83-B4C92B3DA6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06660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83" imgH="384" progId="TCLayout.ActiveDocument.1">
                  <p:embed/>
                </p:oleObj>
              </mc:Choice>
              <mc:Fallback>
                <p:oleObj name="think-cell Folie" r:id="rId10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01371E-4544-75B8-D485-0F870F504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362" y="831622"/>
            <a:ext cx="10515600" cy="709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1DAA8A-A072-30FB-5A29-BEDF1BA61E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4C77381-C8DE-AA6A-B090-EC30F9DC7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71849" y="6384281"/>
            <a:ext cx="7981949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599C"/>
                </a:solidFill>
                <a:latin typeface="TSTAR" panose="020B060402020202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7797124-5E91-158D-04D9-D0ECF53882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5620" y="6384281"/>
            <a:ext cx="2579280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rgbClr val="00599C"/>
                </a:solidFill>
                <a:latin typeface="TSTAR" panose="020B060402020202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pic>
        <p:nvPicPr>
          <p:cNvPr id="17" name="Inhaltsplatzhalter 8">
            <a:extLst>
              <a:ext uri="{FF2B5EF4-FFF2-40B4-BE49-F238E27FC236}">
                <a16:creationId xmlns:a16="http://schemas.microsoft.com/office/drawing/2014/main" id="{934346E9-1737-7679-FB00-125D562B2258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1660" y="676124"/>
            <a:ext cx="744279" cy="709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1520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92" r:id="rId5"/>
    <p:sldLayoutId id="2147483693" r:id="rId6"/>
    <p:sldLayoutId id="2147483694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rgbClr val="00599C"/>
          </a:solidFill>
          <a:latin typeface="TSTAR" panose="020B060402020202020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TSTAR" panose="020B060402020202020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16AFAC0-93FB-3081-FDF7-18A43127E1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1258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83" imgH="384" progId="TCLayout.ActiveDocument.1">
                  <p:embed/>
                </p:oleObj>
              </mc:Choice>
              <mc:Fallback>
                <p:oleObj name="think-cell Folie" r:id="rId8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841528"/>
            <a:ext cx="12201525" cy="1016472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6026" y="6260659"/>
            <a:ext cx="2072098" cy="313852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0274" y="6260659"/>
            <a:ext cx="2038352" cy="374598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19595" y="166594"/>
            <a:ext cx="2173955" cy="93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877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30A5D2-BE97-F26E-B4E5-B3632E5F1A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03354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83" imgH="384" progId="TCLayout.ActiveDocument.1">
                  <p:embed/>
                </p:oleObj>
              </mc:Choice>
              <mc:Fallback>
                <p:oleObj name="think-cell Folie" r:id="rId13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ußzeilenplatzhalter 8"/>
          <p:cNvSpPr txBox="1">
            <a:spLocks/>
          </p:cNvSpPr>
          <p:nvPr/>
        </p:nvSpPr>
        <p:spPr>
          <a:xfrm>
            <a:off x="504825" y="6583363"/>
            <a:ext cx="1096963" cy="207962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457200" rtl="0" eaLnBrk="1" latinLnBrk="0" hangingPunct="1">
              <a:defRPr sz="800" kern="1200">
                <a:solidFill>
                  <a:srgbClr val="005A9B"/>
                </a:solidFill>
                <a:latin typeface="Arial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/>
          </a:p>
        </p:txBody>
      </p:sp>
      <p:sp>
        <p:nvSpPr>
          <p:cNvPr id="2052" name="Titelplatzhalter 16"/>
          <p:cNvSpPr>
            <a:spLocks noGrp="1"/>
          </p:cNvSpPr>
          <p:nvPr>
            <p:ph type="title"/>
          </p:nvPr>
        </p:nvSpPr>
        <p:spPr bwMode="auto">
          <a:xfrm>
            <a:off x="393700" y="406400"/>
            <a:ext cx="9753600" cy="32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2053" name="Textplatzhalter 17"/>
          <p:cNvSpPr>
            <a:spLocks noGrp="1"/>
          </p:cNvSpPr>
          <p:nvPr>
            <p:ph type="body" idx="1"/>
          </p:nvPr>
        </p:nvSpPr>
        <p:spPr bwMode="auto">
          <a:xfrm>
            <a:off x="633413" y="1766888"/>
            <a:ext cx="11064875" cy="4741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0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393700" y="6627813"/>
            <a:ext cx="255588" cy="20796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 baseline="0" smtClean="0">
                <a:solidFill>
                  <a:srgbClr val="005A9B"/>
                </a:solidFill>
                <a:latin typeface="Arial"/>
                <a:ea typeface="+mn-ea"/>
                <a:cs typeface="+mn-cs"/>
              </a:defRPr>
            </a:lvl1pPr>
          </a:lstStyle>
          <a:p>
            <a:pPr>
              <a:defRPr/>
            </a:pPr>
            <a:fld id="{F4603CEF-B396-964A-9571-AA9A3874814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pic>
        <p:nvPicPr>
          <p:cNvPr id="2055" name="Bild 8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95213"/>
          <a:stretch>
            <a:fillRect/>
          </a:stretch>
        </p:blipFill>
        <p:spPr bwMode="auto">
          <a:xfrm>
            <a:off x="0" y="0"/>
            <a:ext cx="4381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6" name="Textfeld 13"/>
          <p:cNvSpPr txBox="1">
            <a:spLocks noChangeArrowheads="1"/>
          </p:cNvSpPr>
          <p:nvPr userDrawn="1"/>
        </p:nvSpPr>
        <p:spPr bwMode="auto">
          <a:xfrm>
            <a:off x="633413" y="6627813"/>
            <a:ext cx="8224837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de-DE" sz="800" dirty="0"/>
              <a:t> Technische Hochschule Ingolstadt</a:t>
            </a:r>
          </a:p>
        </p:txBody>
      </p:sp>
      <p:pic>
        <p:nvPicPr>
          <p:cNvPr id="9" name="Bild 6"/>
          <p:cNvPicPr>
            <a:picLocks noChangeAspect="1"/>
          </p:cNvPicPr>
          <p:nvPr userDrawn="1"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8378" t="3003" b="83303"/>
          <a:stretch/>
        </p:blipFill>
        <p:spPr>
          <a:xfrm>
            <a:off x="10963703" y="101149"/>
            <a:ext cx="1062681" cy="939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443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</p:sldLayoutIdLst>
  <p:hf hdr="0" dt="0"/>
  <p:txStyles>
    <p:titleStyle>
      <a:lvl1pPr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200" i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indent="358775" algn="l" defTabSz="457200" rtl="0" fontAlgn="base">
        <a:lnSpc>
          <a:spcPct val="150000"/>
        </a:lnSpc>
        <a:spcBef>
          <a:spcPct val="0"/>
        </a:spcBef>
        <a:spcAft>
          <a:spcPct val="0"/>
        </a:spcAft>
        <a:buSzPct val="100000"/>
        <a:buBlip>
          <a:blip r:embed="rId17"/>
        </a:buBlip>
        <a:defRPr b="1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358775" indent="358775" algn="l" defTabSz="457200" rtl="0" fontAlgn="base">
        <a:lnSpc>
          <a:spcPct val="150000"/>
        </a:lnSpc>
        <a:spcBef>
          <a:spcPct val="0"/>
        </a:spcBef>
        <a:spcAft>
          <a:spcPct val="0"/>
        </a:spcAft>
        <a:buSzPct val="100000"/>
        <a:buBlip>
          <a:blip r:embed="rId17"/>
        </a:buBlip>
        <a:defRPr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719138" indent="358775" algn="l" defTabSz="457200" rtl="0" fontAlgn="base">
        <a:lnSpc>
          <a:spcPct val="150000"/>
        </a:lnSpc>
        <a:spcBef>
          <a:spcPct val="0"/>
        </a:spcBef>
        <a:spcAft>
          <a:spcPct val="0"/>
        </a:spcAft>
        <a:buSzPct val="100000"/>
        <a:buBlip>
          <a:blip r:embed="rId17"/>
        </a:buBlip>
        <a:defRPr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079500" indent="358775" algn="l" defTabSz="457200" rtl="0" fontAlgn="base">
        <a:lnSpc>
          <a:spcPct val="150000"/>
        </a:lnSpc>
        <a:spcBef>
          <a:spcPct val="0"/>
        </a:spcBef>
        <a:spcAft>
          <a:spcPct val="0"/>
        </a:spcAft>
        <a:buSzPct val="100000"/>
        <a:buBlip>
          <a:blip r:embed="rId17"/>
        </a:buBlip>
        <a:defRPr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439863" indent="358775" algn="l" defTabSz="457200" rtl="0" fontAlgn="base">
        <a:lnSpc>
          <a:spcPct val="150000"/>
        </a:lnSpc>
        <a:spcBef>
          <a:spcPct val="0"/>
        </a:spcBef>
        <a:spcAft>
          <a:spcPct val="0"/>
        </a:spcAft>
        <a:buSzPct val="100000"/>
        <a:buBlip>
          <a:blip r:embed="rId17"/>
        </a:buBlip>
        <a:defRPr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hyperlink" Target="https://yamin335.github.io/project_gantt_chart.html" TargetMode="Externa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>
            <a:extLst>
              <a:ext uri="{FF2B5EF4-FFF2-40B4-BE49-F238E27FC236}">
                <a16:creationId xmlns:a16="http://schemas.microsoft.com/office/drawing/2014/main" id="{524F06F1-EA4C-B9B0-7538-76CF95027C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5922" y="2812775"/>
            <a:ext cx="6031149" cy="1661159"/>
          </a:xfrm>
        </p:spPr>
        <p:txBody>
          <a:bodyPr>
            <a:noAutofit/>
          </a:bodyPr>
          <a:lstStyle/>
          <a:p>
            <a:pPr algn="just"/>
            <a:r>
              <a:rPr lang="de-DE" sz="2800" dirty="0">
                <a:cs typeface="Times New Roman" panose="02020603050405020304" pitchFamily="18" charset="0"/>
              </a:rPr>
              <a:t>AUF/5: Setup of a Framework for Employing Foundation Models in Autonomous Driving</a:t>
            </a:r>
          </a:p>
        </p:txBody>
      </p:sp>
      <p:sp>
        <p:nvSpPr>
          <p:cNvPr id="4" name="Datumsplatzhalter 9">
            <a:extLst>
              <a:ext uri="{FF2B5EF4-FFF2-40B4-BE49-F238E27FC236}">
                <a16:creationId xmlns:a16="http://schemas.microsoft.com/office/drawing/2014/main" id="{324228CE-4DD2-8405-EB58-E8F78B4D30F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8827" y="6338035"/>
            <a:ext cx="1520688" cy="36512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600" b="1">
                <a:solidFill>
                  <a:srgbClr val="00599C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ate: 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19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12.2024</a:t>
            </a:r>
          </a:p>
        </p:txBody>
      </p:sp>
      <p:sp>
        <p:nvSpPr>
          <p:cNvPr id="5" name="Untertitel 2">
            <a:extLst>
              <a:ext uri="{FF2B5EF4-FFF2-40B4-BE49-F238E27FC236}">
                <a16:creationId xmlns:a16="http://schemas.microsoft.com/office/drawing/2014/main" id="{1982C0BF-129F-D9F3-8110-B6B179E9DEC5}"/>
              </a:ext>
            </a:extLst>
          </p:cNvPr>
          <p:cNvSpPr txBox="1">
            <a:spLocks/>
          </p:cNvSpPr>
          <p:nvPr/>
        </p:nvSpPr>
        <p:spPr>
          <a:xfrm>
            <a:off x="10127975" y="4681994"/>
            <a:ext cx="1520687" cy="1586467"/>
          </a:xfrm>
          <a:prstGeom prst="rect">
            <a:avLst/>
          </a:prstGeom>
        </p:spPr>
        <p:txBody>
          <a:bodyPr lIns="0" tIns="0" rIns="0" anchor="ctr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8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de-DE" sz="1200" dirty="0">
                <a:solidFill>
                  <a:srgbClr val="00599C"/>
                </a:solidFill>
                <a:latin typeface="+mn-lt"/>
                <a:cs typeface="Arial" panose="020B0604020202020204" pitchFamily="34" charset="0"/>
              </a:rPr>
              <a:t>Team Members:</a:t>
            </a:r>
            <a:br>
              <a:rPr lang="de-DE" sz="1200" dirty="0">
                <a:solidFill>
                  <a:srgbClr val="00599C"/>
                </a:solidFill>
                <a:latin typeface="+mn-lt"/>
                <a:cs typeface="Arial" panose="020B0604020202020204" pitchFamily="34" charset="0"/>
              </a:rPr>
            </a:br>
            <a:endParaRPr lang="de-DE" sz="1200" dirty="0">
              <a:solidFill>
                <a:srgbClr val="00599C"/>
              </a:solidFill>
              <a:latin typeface="+mn-lt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de-DE" sz="1200" dirty="0" err="1">
                <a:solidFill>
                  <a:srgbClr val="00599C"/>
                </a:solidFill>
                <a:latin typeface="+mn-lt"/>
                <a:cs typeface="Arial" panose="020B0604020202020204" pitchFamily="34" charset="0"/>
              </a:rPr>
              <a:t>Yamin</a:t>
            </a:r>
            <a:r>
              <a:rPr lang="de-DE" sz="1200" dirty="0">
                <a:solidFill>
                  <a:srgbClr val="00599C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de-DE" sz="1200" dirty="0" err="1">
                <a:solidFill>
                  <a:srgbClr val="00599C"/>
                </a:solidFill>
                <a:latin typeface="+mn-lt"/>
                <a:cs typeface="Arial" panose="020B0604020202020204" pitchFamily="34" charset="0"/>
              </a:rPr>
              <a:t>Mollah</a:t>
            </a:r>
            <a:r>
              <a:rPr lang="de-DE" sz="1200" dirty="0">
                <a:solidFill>
                  <a:srgbClr val="00599C"/>
                </a:solidFill>
                <a:latin typeface="+mn-lt"/>
                <a:cs typeface="Arial" panose="020B0604020202020204" pitchFamily="34" charset="0"/>
              </a:rPr>
              <a:t> (Lead)</a:t>
            </a:r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de-DE" sz="1200" dirty="0">
                <a:solidFill>
                  <a:srgbClr val="00599C"/>
                </a:solidFill>
                <a:latin typeface="+mn-lt"/>
                <a:cs typeface="Arial" panose="020B0604020202020204" pitchFamily="34" charset="0"/>
              </a:rPr>
              <a:t>Md Shiful Islam</a:t>
            </a:r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de-DE" sz="1200" dirty="0">
                <a:solidFill>
                  <a:srgbClr val="00599C"/>
                </a:solidFill>
                <a:latin typeface="+mn-lt"/>
                <a:cs typeface="Arial" panose="020B0604020202020204" pitchFamily="34" charset="0"/>
              </a:rPr>
              <a:t>Md Fuad Hasan</a:t>
            </a:r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de-DE" sz="1200" dirty="0">
                <a:solidFill>
                  <a:srgbClr val="00599C"/>
                </a:solidFill>
                <a:latin typeface="+mn-lt"/>
                <a:cs typeface="Arial" panose="020B0604020202020204" pitchFamily="34" charset="0"/>
              </a:rPr>
              <a:t>Elvis Eric Soans</a:t>
            </a:r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de-DE" sz="1200" dirty="0">
                <a:solidFill>
                  <a:srgbClr val="00599C"/>
                </a:solidFill>
                <a:latin typeface="+mn-lt"/>
                <a:cs typeface="Arial" panose="020B0604020202020204" pitchFamily="34" charset="0"/>
              </a:rPr>
              <a:t>Manav Joshi 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D531D08A-4609-6F0B-C88A-9BBF9E0FAC71}"/>
              </a:ext>
            </a:extLst>
          </p:cNvPr>
          <p:cNvSpPr txBox="1"/>
          <p:nvPr/>
        </p:nvSpPr>
        <p:spPr>
          <a:xfrm>
            <a:off x="9334501" y="638085"/>
            <a:ext cx="390524" cy="1384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00" dirty="0">
                <a:solidFill>
                  <a:srgbClr val="005A96"/>
                </a:solidFill>
              </a:rPr>
              <a:t>12.06.2024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FB12511-48C9-3020-64F8-BAA0E2F32A18}"/>
              </a:ext>
            </a:extLst>
          </p:cNvPr>
          <p:cNvSpPr txBox="1"/>
          <p:nvPr/>
        </p:nvSpPr>
        <p:spPr>
          <a:xfrm>
            <a:off x="665922" y="4375206"/>
            <a:ext cx="3568148" cy="3763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  <a:latin typeface="+mj-lt"/>
              </a:rPr>
              <a:t>Supervisor: </a:t>
            </a:r>
            <a:r>
              <a:rPr lang="en-GB" dirty="0">
                <a:solidFill>
                  <a:schemeClr val="bg1"/>
                </a:solidFill>
              </a:rPr>
              <a:t>Marion Neumeier</a:t>
            </a:r>
            <a:endParaRPr lang="en-DE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67712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378AF45-DD23-0403-96BC-0E9EB7098F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4784124" cy="436772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1800" b="1" dirty="0">
                <a:latin typeface="Arial" panose="020B0604020202020204" pitchFamily="34" charset="0"/>
                <a:cs typeface="Arial" panose="020B0604020202020204" pitchFamily="34" charset="0"/>
              </a:rPr>
              <a:t>Metrics Observed: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diffusion_loss, action_loss, dist_loss, and cosine similarity.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Comparison of training vs. testing metrics.</a:t>
            </a:r>
          </a:p>
          <a:p>
            <a:pPr marL="0" indent="0">
              <a:buNone/>
            </a:pPr>
            <a:endParaRPr lang="en-GB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sz="1800" b="1" dirty="0">
                <a:latin typeface="Arial" panose="020B0604020202020204" pitchFamily="34" charset="0"/>
                <a:cs typeface="Arial" panose="020B0604020202020204" pitchFamily="34" charset="0"/>
              </a:rPr>
              <a:t>Example Metrics: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Goal-conditioned losses (gc_action_loss, gc_dist_loss).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Evaluation of trajectory accuracy and goal alignment.</a:t>
            </a:r>
          </a:p>
          <a:p>
            <a:endParaRPr lang="en-DE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DE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A0194B-6540-8C7D-3310-AD93047AC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69AFF14-4DF7-75F1-D9B2-5995A149CB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un Summary</a:t>
            </a:r>
            <a:endParaRPr lang="en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A33E3A1-5D9E-4DCA-C477-99A2371024B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undation Models for Autonomous Driving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Picture 6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8B02A86D-E9ED-BC09-495F-25FF1FAC19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7857" y="1825625"/>
            <a:ext cx="5642613" cy="268459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D60D6B5-4132-1F7F-6DF4-CF0B0D1057A8}"/>
              </a:ext>
            </a:extLst>
          </p:cNvPr>
          <p:cNvSpPr txBox="1"/>
          <p:nvPr/>
        </p:nvSpPr>
        <p:spPr>
          <a:xfrm>
            <a:off x="7337946" y="4566387"/>
            <a:ext cx="28024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/>
              <a:t>Figure: Evaluation Summary</a:t>
            </a:r>
          </a:p>
        </p:txBody>
      </p:sp>
    </p:spTree>
    <p:extLst>
      <p:ext uri="{BB962C8B-B14F-4D97-AF65-F5344CB8AC3E}">
        <p14:creationId xmlns:p14="http://schemas.microsoft.com/office/powerpoint/2010/main" val="20122045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5631B78-1548-A76D-92F3-7B6D57949B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17967" y="4074013"/>
            <a:ext cx="5933303" cy="2310268"/>
          </a:xfrm>
        </p:spPr>
        <p:txBody>
          <a:bodyPr>
            <a:normAutofit/>
          </a:bodyPr>
          <a:lstStyle/>
          <a:p>
            <a:r>
              <a:rPr lang="en-GB" sz="1800" b="1" dirty="0">
                <a:latin typeface="Arial" panose="020B0604020202020204" pitchFamily="34" charset="0"/>
                <a:cs typeface="Arial" panose="020B0604020202020204" pitchFamily="34" charset="0"/>
              </a:rPr>
              <a:t>Visualization: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Cyan (predicted path), pink (ground truth), green (current position), red (goal).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Observation and goal views.</a:t>
            </a:r>
          </a:p>
          <a:p>
            <a:pPr marL="457200" lvl="1" indent="0">
              <a:buNone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800" b="1" dirty="0">
                <a:latin typeface="Arial" panose="020B0604020202020204" pitchFamily="34" charset="0"/>
                <a:cs typeface="Arial" panose="020B0604020202020204" pitchFamily="34" charset="0"/>
              </a:rPr>
              <a:t>Strengths: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Fast, accurate predictions in structured environments.</a:t>
            </a:r>
          </a:p>
          <a:p>
            <a:endParaRPr lang="en-DE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E5887B6-76AC-40A5-D86C-ABEC38780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C4DC59C-97CD-3AF0-12CA-79206AF4B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Visual Results – ViNT</a:t>
            </a:r>
            <a:endParaRPr lang="en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23CA559-3AD8-153E-181F-8EBD18C6743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undation Models for Autonomous Driving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Picture 6" descr="A blurry image of a road&#10;&#10;Description automatically generated">
            <a:extLst>
              <a:ext uri="{FF2B5EF4-FFF2-40B4-BE49-F238E27FC236}">
                <a16:creationId xmlns:a16="http://schemas.microsoft.com/office/drawing/2014/main" id="{EC9D74DC-2598-230B-5E46-19500479A3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5260" y="1355997"/>
            <a:ext cx="9086016" cy="241281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18E6199-9A33-487F-65EA-5A17838EEE6D}"/>
              </a:ext>
            </a:extLst>
          </p:cNvPr>
          <p:cNvSpPr txBox="1"/>
          <p:nvPr/>
        </p:nvSpPr>
        <p:spPr>
          <a:xfrm>
            <a:off x="4357595" y="3704790"/>
            <a:ext cx="379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/>
              <a:t>Figure: THI Data Test Action-Prediction</a:t>
            </a:r>
          </a:p>
        </p:txBody>
      </p:sp>
    </p:spTree>
    <p:extLst>
      <p:ext uri="{BB962C8B-B14F-4D97-AF65-F5344CB8AC3E}">
        <p14:creationId xmlns:p14="http://schemas.microsoft.com/office/powerpoint/2010/main" val="35440550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64FB7D-FDF0-EF0D-86C5-22DE7D859E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BA674B7-A3B1-7465-9714-F2CD238DDB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33762" y="1743171"/>
            <a:ext cx="3039628" cy="173894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DE" sz="1800" dirty="0">
                <a:latin typeface="Arial" panose="020B0604020202020204" pitchFamily="34" charset="0"/>
                <a:cs typeface="Arial" panose="020B0604020202020204" pitchFamily="34" charset="0"/>
              </a:rPr>
              <a:t>Distance prediction are shown in the unit as given in the trajectory files.</a:t>
            </a:r>
          </a:p>
          <a:p>
            <a:pPr marL="0" indent="0">
              <a:buNone/>
            </a:pPr>
            <a:r>
              <a:rPr lang="en-DE" sz="1800" b="1" dirty="0">
                <a:latin typeface="Arial" panose="020B0604020202020204" pitchFamily="34" charset="0"/>
                <a:cs typeface="Arial" panose="020B0604020202020204" pitchFamily="34" charset="0"/>
              </a:rPr>
              <a:t>Example:</a:t>
            </a:r>
            <a:r>
              <a:rPr lang="en-DE" sz="1800" dirty="0">
                <a:latin typeface="Arial" panose="020B0604020202020204" pitchFamily="34" charset="0"/>
                <a:cs typeface="Arial" panose="020B0604020202020204" pitchFamily="34" charset="0"/>
              </a:rPr>
              <a:t> In our case in meters.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FA0DFD0-76A2-AA47-58A8-43E9036E18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7256452-0BB3-5305-8A8E-0A9AAB20F3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Visual Results – ViNT</a:t>
            </a:r>
            <a:endParaRPr lang="en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6DE6943-2E86-1754-CBB2-42A9533CBA0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undation Models for Autonomous Driving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E5C7D9E-ED03-D65E-CE28-41F7E81B04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79944" y="1461458"/>
            <a:ext cx="6536725" cy="463716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E0B30D4-B810-9AA9-EC49-FCDECFC3EF62}"/>
              </a:ext>
            </a:extLst>
          </p:cNvPr>
          <p:cNvSpPr txBox="1"/>
          <p:nvPr/>
        </p:nvSpPr>
        <p:spPr>
          <a:xfrm>
            <a:off x="6507671" y="6098623"/>
            <a:ext cx="379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/>
              <a:t>Figure: THI Data Test Action-Prediction</a:t>
            </a:r>
          </a:p>
        </p:txBody>
      </p:sp>
    </p:spTree>
    <p:extLst>
      <p:ext uri="{BB962C8B-B14F-4D97-AF65-F5344CB8AC3E}">
        <p14:creationId xmlns:p14="http://schemas.microsoft.com/office/powerpoint/2010/main" val="15085631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CAFD77C-172A-5A97-E4B5-D3130A585C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575873"/>
            <a:ext cx="4388707" cy="4411362"/>
          </a:xfrm>
        </p:spPr>
        <p:txBody>
          <a:bodyPr>
            <a:normAutofit/>
          </a:bodyPr>
          <a:lstStyle/>
          <a:p>
            <a:r>
              <a:rPr lang="en-GB" sz="1800" b="1" dirty="0">
                <a:latin typeface="Arial" panose="020B0604020202020204" pitchFamily="34" charset="0"/>
                <a:cs typeface="Arial" panose="020B0604020202020204" pitchFamily="34" charset="0"/>
              </a:rPr>
              <a:t>Current Position: 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Represented by the green dot as the starting point.</a:t>
            </a:r>
          </a:p>
          <a:p>
            <a:r>
              <a:rPr lang="en-GB" sz="1800" b="1" dirty="0">
                <a:latin typeface="Arial" panose="020B0604020202020204" pitchFamily="34" charset="0"/>
                <a:cs typeface="Arial" panose="020B0604020202020204" pitchFamily="34" charset="0"/>
              </a:rPr>
              <a:t>Goal Location: 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Shown as the red dot indicating the target.</a:t>
            </a:r>
          </a:p>
          <a:p>
            <a:r>
              <a:rPr lang="en-GB" sz="1800" b="1" dirty="0">
                <a:latin typeface="Arial" panose="020B0604020202020204" pitchFamily="34" charset="0"/>
                <a:cs typeface="Arial" panose="020B0604020202020204" pitchFamily="34" charset="0"/>
              </a:rPr>
              <a:t>Predicted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b="1" dirty="0">
                <a:latin typeface="Arial" panose="020B0604020202020204" pitchFamily="34" charset="0"/>
                <a:cs typeface="Arial" panose="020B0604020202020204" pitchFamily="34" charset="0"/>
              </a:rPr>
              <a:t>Trajectory: 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The refined pink line aligns closely with the goal.</a:t>
            </a:r>
          </a:p>
          <a:p>
            <a:r>
              <a:rPr lang="en-GB" sz="1800" b="1" dirty="0">
                <a:latin typeface="Arial" panose="020B0604020202020204" pitchFamily="34" charset="0"/>
                <a:cs typeface="Arial" panose="020B0604020202020204" pitchFamily="34" charset="0"/>
              </a:rPr>
              <a:t>Trajectory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b="1" dirty="0">
                <a:latin typeface="Arial" panose="020B0604020202020204" pitchFamily="34" charset="0"/>
                <a:cs typeface="Arial" panose="020B0604020202020204" pitchFamily="34" charset="0"/>
              </a:rPr>
              <a:t>Refinement: 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Faint pink paths represent explored candidates during diffusion.</a:t>
            </a:r>
          </a:p>
          <a:p>
            <a:r>
              <a:rPr lang="en-GB" sz="1800" b="1" dirty="0">
                <a:latin typeface="Arial" panose="020B0604020202020204" pitchFamily="34" charset="0"/>
                <a:cs typeface="Arial" panose="020B0604020202020204" pitchFamily="34" charset="0"/>
              </a:rPr>
              <a:t>Observation: 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Visual input aligns with the goal, ensuring task consistency.</a:t>
            </a:r>
            <a:endParaRPr lang="en-DE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448739-ED6D-5353-8324-E080F0D8D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47A0C8C-6A07-E3DD-C450-507DDCEC8E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Visual Results – NoMaD</a:t>
            </a:r>
            <a:endParaRPr lang="en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4EB6F41-880A-E06B-2969-235D5952D89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undation Models for Autonomous Driving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DF0D7D3B-A393-6939-C571-1A85FE80B8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6908" y="1472921"/>
            <a:ext cx="6892849" cy="391215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8A24115-73BE-C9D1-F542-190E63D91EEA}"/>
              </a:ext>
            </a:extLst>
          </p:cNvPr>
          <p:cNvSpPr txBox="1"/>
          <p:nvPr/>
        </p:nvSpPr>
        <p:spPr>
          <a:xfrm>
            <a:off x="6946032" y="4374292"/>
            <a:ext cx="34546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/>
              <a:t>Figure: THI Data test action sample</a:t>
            </a:r>
          </a:p>
        </p:txBody>
      </p:sp>
    </p:spTree>
    <p:extLst>
      <p:ext uri="{BB962C8B-B14F-4D97-AF65-F5344CB8AC3E}">
        <p14:creationId xmlns:p14="http://schemas.microsoft.com/office/powerpoint/2010/main" val="42724218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B5532FD-4A14-4B3E-1031-39F31D789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D76FB5A-7CB5-CF91-94ED-0D96DFE447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parison of Summary Outputs</a:t>
            </a:r>
            <a:endParaRPr lang="en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9E01E61-3FFF-FACB-A85B-DA04785E83A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undation Models for Autonomous Driving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Picture 6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0A478512-4256-4A0F-4F8F-04EDE3209A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00" y="3900374"/>
            <a:ext cx="5748993" cy="2735204"/>
          </a:xfrm>
          <a:prstGeom prst="rect">
            <a:avLst/>
          </a:prstGeom>
        </p:spPr>
      </p:pic>
      <p:pic>
        <p:nvPicPr>
          <p:cNvPr id="9" name="Picture 8" descr="A screenshot of a computer code&#10;&#10;Description automatically generated">
            <a:extLst>
              <a:ext uri="{FF2B5EF4-FFF2-40B4-BE49-F238E27FC236}">
                <a16:creationId xmlns:a16="http://schemas.microsoft.com/office/drawing/2014/main" id="{A42325C2-153D-0A2B-EEF9-D75B5A82AF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00" y="1343772"/>
            <a:ext cx="5736056" cy="2420721"/>
          </a:xfrm>
          <a:prstGeom prst="rect">
            <a:avLst/>
          </a:prstGeom>
        </p:spPr>
      </p:pic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FF55BA5F-3CAB-861D-B0B5-12EE1AF28697}"/>
              </a:ext>
            </a:extLst>
          </p:cNvPr>
          <p:cNvSpPr txBox="1">
            <a:spLocks/>
          </p:cNvSpPr>
          <p:nvPr/>
        </p:nvSpPr>
        <p:spPr>
          <a:xfrm>
            <a:off x="7055939" y="5010483"/>
            <a:ext cx="3632656" cy="5149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DE" sz="1600" dirty="0">
                <a:latin typeface="Arial" panose="020B0604020202020204" pitchFamily="34" charset="0"/>
                <a:cs typeface="Arial" panose="020B0604020202020204" pitchFamily="34" charset="0"/>
              </a:rPr>
              <a:t>Figure: THI Data Evaluation Summary using pre trained ViNT Check Points</a:t>
            </a:r>
          </a:p>
        </p:txBody>
      </p:sp>
      <p:sp>
        <p:nvSpPr>
          <p:cNvPr id="15" name="Content Placeholder 10">
            <a:extLst>
              <a:ext uri="{FF2B5EF4-FFF2-40B4-BE49-F238E27FC236}">
                <a16:creationId xmlns:a16="http://schemas.microsoft.com/office/drawing/2014/main" id="{0A2149E7-D805-51C1-C6DE-5FBD2481BE82}"/>
              </a:ext>
            </a:extLst>
          </p:cNvPr>
          <p:cNvSpPr txBox="1">
            <a:spLocks/>
          </p:cNvSpPr>
          <p:nvPr/>
        </p:nvSpPr>
        <p:spPr>
          <a:xfrm>
            <a:off x="7055939" y="2379712"/>
            <a:ext cx="3632656" cy="10492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TSTAR" panose="020B060402020202020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DE" sz="1600" dirty="0">
                <a:latin typeface="Arial" panose="020B0604020202020204" pitchFamily="34" charset="0"/>
                <a:cs typeface="Arial" panose="020B0604020202020204" pitchFamily="34" charset="0"/>
              </a:rPr>
              <a:t>Figure: THI Data Evaluation Summary using pre trained Check Points trained by Single Public Data, Named –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GoStanford.</a:t>
            </a:r>
            <a:endParaRPr lang="en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99242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AE2E80B-1466-4387-DB2D-F577689AD25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Real-World Use Cases:</a:t>
            </a:r>
          </a:p>
          <a:p>
            <a:pPr marL="0" indent="0">
              <a:buNone/>
            </a:pPr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Autonomous Driving: Enabling vehicles to navigate roads, avoid obstacles, and follow traffic rules.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Logistics: Assisting in autonomous delivery systems for last-mile solutions.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Warehousing: Efficient robot navigation for inventory management.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Search and Rescue: Exploring unknown terrains to locate survivors.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Home Automation: Navigating diverse home layouts for assistance tasks.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Healthcare: Autonomous navigation in hospitals for deliveries.</a:t>
            </a:r>
          </a:p>
          <a:p>
            <a:endParaRPr lang="en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F848312-F887-ECD6-6617-93E379B409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3CC61E5-AACF-698E-5112-F83B8528D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pplications</a:t>
            </a:r>
            <a:endParaRPr lang="en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FD2A01C-6999-6926-105A-386A44A256D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undation Models for Autonomous Driving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21508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24B62E0-8E82-8E45-91BA-EE74F35AA1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4D3B593-357C-7E36-ADE0-B91F4C0B72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Gantt Char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1AA05E7-EC13-E859-A671-55E811D0B3D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undation Models for Autonomous Driving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EC1A11C-76FA-E0F4-494E-E7D5E0D563D7}"/>
              </a:ext>
            </a:extLst>
          </p:cNvPr>
          <p:cNvSpPr txBox="1"/>
          <p:nvPr/>
        </p:nvSpPr>
        <p:spPr>
          <a:xfrm>
            <a:off x="4670854" y="5418593"/>
            <a:ext cx="19748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/>
              <a:t>Figure: Gantt Char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31BC36-D299-C033-62C3-B41CBEA807EF}"/>
              </a:ext>
            </a:extLst>
          </p:cNvPr>
          <p:cNvSpPr txBox="1"/>
          <p:nvPr/>
        </p:nvSpPr>
        <p:spPr>
          <a:xfrm>
            <a:off x="2075935" y="6141308"/>
            <a:ext cx="56679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/>
              <a:t>Link: </a:t>
            </a:r>
            <a:r>
              <a:rPr lang="en-GB" dirty="0">
                <a:hlinkClick r:id="rId2"/>
              </a:rPr>
              <a:t>https://yamin335.github.io/</a:t>
            </a:r>
            <a:r>
              <a:rPr lang="en-GB" dirty="0" err="1">
                <a:hlinkClick r:id="rId2"/>
              </a:rPr>
              <a:t>project_gantt_chart.html</a:t>
            </a:r>
            <a:endParaRPr lang="en-DE" dirty="0"/>
          </a:p>
        </p:txBody>
      </p:sp>
      <p:pic>
        <p:nvPicPr>
          <p:cNvPr id="11" name="Content Placeholder 10" descr="A graph with colorful rectangular shapes&#10;&#10;Description automatically generated with medium confidence">
            <a:extLst>
              <a:ext uri="{FF2B5EF4-FFF2-40B4-BE49-F238E27FC236}">
                <a16:creationId xmlns:a16="http://schemas.microsoft.com/office/drawing/2014/main" id="{A51D7C1D-B37C-3B0E-BEF2-A430BCE3BBF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3795" y="1169472"/>
            <a:ext cx="9404410" cy="5041018"/>
          </a:xfrm>
        </p:spPr>
      </p:pic>
    </p:spTree>
    <p:extLst>
      <p:ext uri="{BB962C8B-B14F-4D97-AF65-F5344CB8AC3E}">
        <p14:creationId xmlns:p14="http://schemas.microsoft.com/office/powerpoint/2010/main" val="22175727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EE5C8E4-9FE4-6150-1473-7E7EEF16C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0F3725D-37C8-59E4-12E7-0609BD07C8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31078"/>
            <a:ext cx="10132340" cy="709391"/>
          </a:xfrm>
        </p:spPr>
        <p:txBody>
          <a:bodyPr/>
          <a:lstStyle/>
          <a:p>
            <a:r>
              <a:rPr lang="en-GB" dirty="0"/>
              <a:t>Overview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77B8AA-48A1-2996-70F4-645BF3D2176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undation Models for Autonomous Driving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3CC3EB7-0A70-6711-7E89-F45C503594B2}"/>
              </a:ext>
            </a:extLst>
          </p:cNvPr>
          <p:cNvSpPr txBox="1"/>
          <p:nvPr/>
        </p:nvSpPr>
        <p:spPr>
          <a:xfrm>
            <a:off x="838200" y="1961053"/>
            <a:ext cx="10560985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itchFamily="2" charset="2"/>
              <a:buChar char="§"/>
            </a:pPr>
            <a:r>
              <a:rPr lang="en-GB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utonomous Driving relies on accurate and adaptable navigation systems.</a:t>
            </a:r>
            <a:endParaRPr lang="en-GB" b="1" i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itchFamily="2" charset="2"/>
              <a:buChar char="§"/>
            </a:pPr>
            <a:r>
              <a:rPr lang="en-GB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ViNT</a:t>
            </a:r>
            <a:r>
              <a:rPr lang="en-GB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(Visual Navigation Transformer) is a goal-conditioned visual navigation model.</a:t>
            </a:r>
          </a:p>
          <a:p>
            <a:endParaRPr lang="en-GB" i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esigned to:</a:t>
            </a:r>
          </a:p>
          <a:p>
            <a:pPr marL="742950" lvl="1" indent="-285750">
              <a:buFont typeface="Wingdings" pitchFamily="2" charset="2"/>
              <a:buChar char="§"/>
            </a:pPr>
            <a:r>
              <a:rPr lang="en-GB" sz="160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nable accurate and efficient navigation in structured environments.</a:t>
            </a:r>
          </a:p>
          <a:p>
            <a:pPr marL="742950" lvl="1" indent="-285750">
              <a:buFont typeface="Wingdings" pitchFamily="2" charset="2"/>
              <a:buChar char="§"/>
            </a:pPr>
            <a:r>
              <a:rPr lang="en-GB" sz="160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Use visual data (e.g., robot observations) to predict paths to specific goals.</a:t>
            </a:r>
          </a:p>
          <a:p>
            <a:pPr lvl="1"/>
            <a:endParaRPr lang="en-GB" i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Key Features: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GB" sz="160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owered by transformer architectures for processing visual and spatial inputs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GB" sz="160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Learns from diverse datasets, enabling generalization across robot types and environments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GB" sz="160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xcels in tasks where goal alignment and visual context are critical.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en-GB" sz="160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art of the General Navigation Model family, alongside GNM and NoMaD.</a:t>
            </a:r>
            <a:endParaRPr lang="en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97865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94031AB-A5C0-2EC9-10EA-4A9D770775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Develop universal navigation policies for Autonomous Driving.</a:t>
            </a:r>
          </a:p>
          <a:p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Enable cross-robot adaptability using diverse datasets.</a:t>
            </a:r>
          </a:p>
          <a:p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Balance between goal-directed navigation and exploration.</a:t>
            </a:r>
          </a:p>
          <a:p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Leverage advanced architectures (e.g., transformers, diffusion policies).</a:t>
            </a:r>
            <a:endParaRPr lang="en-DE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8F27346-E2AA-7DAD-3D18-E68AB77193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B10E1A4-CF2E-9282-548B-D4A8E75179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ject Goals</a:t>
            </a:r>
            <a:endParaRPr lang="en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35D3034-9425-37CC-2B99-D06C09CC4A5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undation Models for Autonomous Driving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71948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AEB034C-EF1D-EFB0-45AD-92D7802F1B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1800" b="1" dirty="0">
                <a:latin typeface="Arial" panose="020B0604020202020204" pitchFamily="34" charset="0"/>
                <a:cs typeface="Arial" panose="020B0604020202020204" pitchFamily="34" charset="0"/>
              </a:rPr>
              <a:t>GNM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: Foundational navigation model for diverse environments.</a:t>
            </a:r>
          </a:p>
          <a:p>
            <a:r>
              <a:rPr lang="en-GB" sz="1800" b="1" dirty="0">
                <a:latin typeface="Arial" panose="020B0604020202020204" pitchFamily="34" charset="0"/>
                <a:cs typeface="Arial" panose="020B0604020202020204" pitchFamily="34" charset="0"/>
              </a:rPr>
              <a:t>ViNT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: Vision-based transformer model for goal-conditioned tasks.</a:t>
            </a:r>
          </a:p>
          <a:p>
            <a:r>
              <a:rPr lang="en-GB" sz="1800" b="1" dirty="0">
                <a:latin typeface="Arial" panose="020B0604020202020204" pitchFamily="34" charset="0"/>
                <a:cs typeface="Arial" panose="020B0604020202020204" pitchFamily="34" charset="0"/>
              </a:rPr>
              <a:t>NoMaD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: Diffusion-based model for navigation and exploration.</a:t>
            </a:r>
            <a:endParaRPr lang="en-DE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6745FF1-9FA4-6BD6-58C0-4733D4033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05DD83C-E7C8-D45C-B171-401DAEE13F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verview of Models</a:t>
            </a:r>
            <a:endParaRPr lang="en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6B8843B-313D-4568-76B0-A5065465764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undation Models for Autonomous Driving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9863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7869531-9185-4919-AA96-803D904E75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5045765" cy="126544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1800" b="1" dirty="0">
                <a:latin typeface="Arial" panose="020B0604020202020204" pitchFamily="34" charset="0"/>
                <a:cs typeface="Arial" panose="020B0604020202020204" pitchFamily="34" charset="0"/>
              </a:rPr>
              <a:t>General Navigation Models (GNM) aim to: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Generalize across multiple robots.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Adapt to new environments and tasks.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Operate with minimal additional training.</a:t>
            </a:r>
          </a:p>
          <a:p>
            <a:endParaRPr lang="en-DE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2B3F3C-5E8A-4FD8-991C-86662E5372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187577F-7313-08BF-13A4-020C96DE58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GNM &amp; </a:t>
            </a:r>
            <a:r>
              <a:rPr lang="en-GB" dirty="0"/>
              <a:t>NoMaD – Diffusion-Based Policies</a:t>
            </a:r>
            <a:endParaRPr lang="en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72027AA-2693-94E0-11A9-5122D016C76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undation Models for Autonomous Driving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B9E697C-D1D6-2018-F844-ABA9212FBAFF}"/>
              </a:ext>
            </a:extLst>
          </p:cNvPr>
          <p:cNvSpPr txBox="1"/>
          <p:nvPr/>
        </p:nvSpPr>
        <p:spPr>
          <a:xfrm>
            <a:off x="993913" y="3220278"/>
            <a:ext cx="9223513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NoMaD – Diffusion-Based Policies:</a:t>
            </a:r>
          </a:p>
          <a:p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Core Idea:</a:t>
            </a:r>
          </a:p>
          <a:p>
            <a:pPr marL="742950" lvl="1" indent="-285750">
              <a:buFont typeface="Wingdings" pitchFamily="2" charset="2"/>
              <a:buChar char="§"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Generate trajectories via iterative refinement of noisy paths.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Key Features:</a:t>
            </a:r>
          </a:p>
          <a:p>
            <a:pPr marL="742950" lvl="1" indent="-285750">
              <a:buFont typeface="Wingdings" pitchFamily="2" charset="2"/>
              <a:buChar char="§"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Handles uncertainty with diverse trajectory predictions.</a:t>
            </a:r>
          </a:p>
          <a:p>
            <a:pPr marL="742950" lvl="1" indent="-285750">
              <a:buFont typeface="Wingdings" pitchFamily="2" charset="2"/>
              <a:buChar char="§"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Combines navigation and exploration using goal masking.</a:t>
            </a:r>
          </a:p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Strengths:</a:t>
            </a:r>
          </a:p>
          <a:p>
            <a:pPr marL="742950" lvl="1" indent="-285750">
              <a:buFont typeface="Wingdings" pitchFamily="2" charset="2"/>
              <a:buChar char="§"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Adapts well to dynamic and unstructured environments.</a:t>
            </a:r>
          </a:p>
          <a:p>
            <a:endParaRPr lang="en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60265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BDA23BA-12FD-4E3E-1CC0-9EB55B8094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GB" sz="1800" b="1" dirty="0">
                <a:latin typeface="Arial" panose="020B0604020202020204" pitchFamily="34" charset="0"/>
                <a:cs typeface="Arial" panose="020B0604020202020204" pitchFamily="34" charset="0"/>
              </a:rPr>
              <a:t>Core Idea: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Goal-conditioned navigation using transformer architectures.</a:t>
            </a:r>
          </a:p>
          <a:p>
            <a:pPr marL="0" indent="0">
              <a:buNone/>
            </a:pPr>
            <a:r>
              <a:rPr lang="en-GB" sz="1800" b="1" dirty="0">
                <a:latin typeface="Arial" panose="020B0604020202020204" pitchFamily="34" charset="0"/>
                <a:cs typeface="Arial" panose="020B0604020202020204" pitchFamily="34" charset="0"/>
              </a:rPr>
              <a:t>Key Features: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Superior in structured environments.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Highly efficient for vision-based tasks.</a:t>
            </a:r>
          </a:p>
          <a:p>
            <a:pPr marL="0" indent="0">
              <a:buNone/>
            </a:pPr>
            <a:r>
              <a:rPr lang="en-GB" sz="1800" b="1" dirty="0">
                <a:latin typeface="Arial" panose="020B0604020202020204" pitchFamily="34" charset="0"/>
                <a:cs typeface="Arial" panose="020B0604020202020204" pitchFamily="34" charset="0"/>
              </a:rPr>
              <a:t>Strengths: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Fast and accurate trajectory predictions.</a:t>
            </a:r>
          </a:p>
          <a:p>
            <a:endParaRPr lang="en-DE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D843555-C8EE-E608-EEC9-63F47F689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5938721-DC44-2C92-8F99-638D7D1406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ViNT – Vision Transformer</a:t>
            </a:r>
            <a:endParaRPr lang="en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A737E8E-ECDE-E535-49EF-C9E39EAE173D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undation Models for Autonomous Driving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995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101B34-0798-8560-2B03-1E1F9475D8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3AE92D9-5261-FF9D-9219-CBF4A5F050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del Comparisons</a:t>
            </a:r>
            <a:endParaRPr lang="en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EE0961E-D9B6-0DE8-3973-7C19C3D78BB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undation Models for Autonomous Driving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DE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27C0C5D-B917-3644-E9B7-3F3EAAA604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8322029"/>
              </p:ext>
            </p:extLst>
          </p:nvPr>
        </p:nvGraphicFramePr>
        <p:xfrm>
          <a:off x="664174" y="1895174"/>
          <a:ext cx="10863652" cy="30676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15913">
                  <a:extLst>
                    <a:ext uri="{9D8B030D-6E8A-4147-A177-3AD203B41FA5}">
                      <a16:colId xmlns:a16="http://schemas.microsoft.com/office/drawing/2014/main" val="972252165"/>
                    </a:ext>
                  </a:extLst>
                </a:gridCol>
                <a:gridCol w="2715913">
                  <a:extLst>
                    <a:ext uri="{9D8B030D-6E8A-4147-A177-3AD203B41FA5}">
                      <a16:colId xmlns:a16="http://schemas.microsoft.com/office/drawing/2014/main" val="1245497546"/>
                    </a:ext>
                  </a:extLst>
                </a:gridCol>
                <a:gridCol w="2715913">
                  <a:extLst>
                    <a:ext uri="{9D8B030D-6E8A-4147-A177-3AD203B41FA5}">
                      <a16:colId xmlns:a16="http://schemas.microsoft.com/office/drawing/2014/main" val="2409015146"/>
                    </a:ext>
                  </a:extLst>
                </a:gridCol>
                <a:gridCol w="2715913">
                  <a:extLst>
                    <a:ext uri="{9D8B030D-6E8A-4147-A177-3AD203B41FA5}">
                      <a16:colId xmlns:a16="http://schemas.microsoft.com/office/drawing/2014/main" val="299971958"/>
                    </a:ext>
                  </a:extLst>
                </a:gridCol>
              </a:tblGrid>
              <a:tr h="59505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pect</a:t>
                      </a:r>
                      <a:endParaRPr lang="en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 i="0" u="none" strike="noStrike" kern="1200" dirty="0"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NM</a:t>
                      </a:r>
                      <a:endParaRPr lang="en-DE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 i="0" u="none" strike="noStrike" kern="1200" dirty="0"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iNT</a:t>
                      </a:r>
                      <a:endParaRPr lang="en-DE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 i="0" u="none" strike="noStrike" kern="1200" dirty="0"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MaD</a:t>
                      </a:r>
                      <a:endParaRPr lang="en-DE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4847557"/>
                  </a:ext>
                </a:extLst>
              </a:tr>
              <a:tr h="595055">
                <a:tc>
                  <a:txBody>
                    <a:bodyPr/>
                    <a:lstStyle/>
                    <a:p>
                      <a:pPr algn="ctr"/>
                      <a:r>
                        <a:rPr lang="en-GB" sz="18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re Technology</a:t>
                      </a:r>
                      <a:endParaRPr lang="en-DE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eneral ML</a:t>
                      </a:r>
                      <a:endParaRPr lang="en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ision Transformer</a:t>
                      </a:r>
                      <a:endParaRPr lang="en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usion Policies</a:t>
                      </a:r>
                      <a:endParaRPr lang="en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5193260"/>
                  </a:ext>
                </a:extLst>
              </a:tr>
              <a:tr h="625847">
                <a:tc>
                  <a:txBody>
                    <a:bodyPr/>
                    <a:lstStyle/>
                    <a:p>
                      <a:pPr algn="ctr"/>
                      <a:r>
                        <a:rPr lang="en-GB" sz="18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ocus</a:t>
                      </a:r>
                      <a:endParaRPr lang="en-DE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eneral use</a:t>
                      </a:r>
                      <a:endParaRPr lang="en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oal-conditioned tasks</a:t>
                      </a:r>
                      <a:endParaRPr lang="en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avigation &amp; exploration</a:t>
                      </a:r>
                      <a:endParaRPr lang="en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2678288"/>
                  </a:ext>
                </a:extLst>
              </a:tr>
              <a:tr h="625847">
                <a:tc>
                  <a:txBody>
                    <a:bodyPr/>
                    <a:lstStyle/>
                    <a:p>
                      <a:pPr algn="ctr"/>
                      <a:r>
                        <a:rPr lang="en-GB" sz="18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rength</a:t>
                      </a:r>
                      <a:endParaRPr lang="en-DE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road use</a:t>
                      </a:r>
                      <a:endParaRPr lang="en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ccurate goal alignment</a:t>
                      </a:r>
                      <a:endParaRPr lang="en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andles uncertainty</a:t>
                      </a:r>
                      <a:endParaRPr lang="en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7842300"/>
                  </a:ext>
                </a:extLst>
              </a:tr>
              <a:tr h="625847">
                <a:tc>
                  <a:txBody>
                    <a:bodyPr/>
                    <a:lstStyle/>
                    <a:p>
                      <a:pPr algn="ctr"/>
                      <a:r>
                        <a:rPr lang="en-GB" sz="18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deal Scenarios</a:t>
                      </a:r>
                      <a:endParaRPr lang="en-DE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eneral tasks</a:t>
                      </a:r>
                      <a:endParaRPr lang="en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ructured environments</a:t>
                      </a:r>
                      <a:endParaRPr lang="en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ynamic environments</a:t>
                      </a:r>
                      <a:endParaRPr lang="en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8494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27218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8E9BA18-11BC-1E60-F2F6-31952B763C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6238461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1800" b="1" dirty="0">
                <a:latin typeface="Arial" panose="020B0604020202020204" pitchFamily="34" charset="0"/>
                <a:cs typeface="Arial" panose="020B0604020202020204" pitchFamily="34" charset="0"/>
              </a:rPr>
              <a:t>Data Sources: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Public datasets (e.g., RECON, GoStanford).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Custom robot trajectory data (collected via ROS).</a:t>
            </a:r>
          </a:p>
          <a:p>
            <a:pPr marL="0" indent="0">
              <a:buNone/>
            </a:pPr>
            <a:r>
              <a:rPr lang="en-GB" sz="1800" b="1" dirty="0">
                <a:latin typeface="Arial" panose="020B0604020202020204" pitchFamily="34" charset="0"/>
                <a:cs typeface="Arial" panose="020B0604020202020204" pitchFamily="34" charset="0"/>
              </a:rPr>
              <a:t>Data Processing Steps: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Convert raw data into training-ready formats (images and trajectory data).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Split into training and testing subsets.</a:t>
            </a:r>
          </a:p>
          <a:p>
            <a:pPr marL="0" indent="0">
              <a:buNone/>
            </a:pPr>
            <a:r>
              <a:rPr lang="en-GB" sz="1800" b="1" dirty="0">
                <a:latin typeface="Arial" panose="020B0604020202020204" pitchFamily="34" charset="0"/>
                <a:cs typeface="Arial" panose="020B0604020202020204" pitchFamily="34" charset="0"/>
              </a:rPr>
              <a:t>Dataset Structure: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Images of robot's observations.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Trajectory data (position, yaw).</a:t>
            </a:r>
          </a:p>
          <a:p>
            <a:pPr lvl="1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DE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6D885D0-CB77-2E88-DE58-28526BC1B4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840F36-D847-312A-F942-09AC6E4786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ata Pipeline</a:t>
            </a:r>
            <a:endParaRPr lang="en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A20278E-26D5-EEE3-F0AC-2276DDBD760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undation Models for Autonomous Driving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D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DD09480-AEE9-2FE6-B094-58430455C23C}"/>
              </a:ext>
            </a:extLst>
          </p:cNvPr>
          <p:cNvSpPr txBox="1"/>
          <p:nvPr/>
        </p:nvSpPr>
        <p:spPr>
          <a:xfrm>
            <a:off x="7765774" y="1572593"/>
            <a:ext cx="358802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├── &lt;dataset_name&gt;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│   ├── &lt;name_of_traj1&gt;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│   │   ├── 0.jpg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│   │   ├── 1.jpg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│   │   ├── ...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│   │   ├── T_1.jpg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│   │   └── traj_data.pkl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│   ├── &lt;name_of_traj2&gt;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│   │   ├── 0.jpg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│   │   ├── 1.jpg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│   │   ├── ...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│   │   ├── T_2.jpg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│   │   └── traj_data.pkl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│   ...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└── └── &lt;name_of_trajN&gt;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   	├── 0.jpg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   	├── 1.jpg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   	├── ...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       ├── T_N.jpg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       └── traj_data.pkl</a:t>
            </a:r>
            <a:endParaRPr lang="en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43E91B9-2CA1-7A9C-164E-00B59F810CF7}"/>
              </a:ext>
            </a:extLst>
          </p:cNvPr>
          <p:cNvSpPr txBox="1"/>
          <p:nvPr/>
        </p:nvSpPr>
        <p:spPr>
          <a:xfrm>
            <a:off x="8110331" y="6014949"/>
            <a:ext cx="18971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/>
              <a:t>Data Set Structure</a:t>
            </a:r>
          </a:p>
        </p:txBody>
      </p:sp>
    </p:spTree>
    <p:extLst>
      <p:ext uri="{BB962C8B-B14F-4D97-AF65-F5344CB8AC3E}">
        <p14:creationId xmlns:p14="http://schemas.microsoft.com/office/powerpoint/2010/main" val="4721542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9E03EC3-FE3A-0709-BFDB-2181586F38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1800" b="1" dirty="0">
                <a:latin typeface="Arial" panose="020B0604020202020204" pitchFamily="34" charset="0"/>
                <a:cs typeface="Arial" panose="020B0604020202020204" pitchFamily="34" charset="0"/>
              </a:rPr>
              <a:t>Steps: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Define configuration parameters (e.g., datasets, learning rates).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Train models using training scripts (train.py).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Save checkpoints for further fine-tuning or evaluation.</a:t>
            </a:r>
          </a:p>
          <a:p>
            <a:pPr marL="457200" lvl="1" indent="0">
              <a:buNone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sz="1800" b="1" dirty="0">
                <a:latin typeface="Arial" panose="020B0604020202020204" pitchFamily="34" charset="0"/>
                <a:cs typeface="Arial" panose="020B0604020202020204" pitchFamily="34" charset="0"/>
              </a:rPr>
              <a:t>Model-Specific Training: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GNM/ViNT: Transformer-based learning.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NoMaD: Diffusion-based trajectory refinement.</a:t>
            </a:r>
          </a:p>
          <a:p>
            <a:pPr marL="0" indent="0">
              <a:buNone/>
            </a:pPr>
            <a:endParaRPr lang="en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EDFEFD3-B284-BF11-543F-0559574B55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9E9FB2-15AD-4BAD-B5DA-63EA35E480F0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rgbClr val="00599C"/>
                </a:solidFill>
                <a:effectLst/>
                <a:uLnTx/>
                <a:uFillTx/>
                <a:latin typeface="TSTAR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599C"/>
              </a:solidFill>
              <a:effectLst/>
              <a:uLnTx/>
              <a:uFillTx/>
              <a:latin typeface="TSTAR" panose="020B0604020202020204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530F1AC-DA87-E82A-32C0-6ED661E0D0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raining Framework</a:t>
            </a:r>
            <a:endParaRPr lang="en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3BC0E35-BFE1-BA81-5060-7D51FC3F607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undation Models for Autonomous Driving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46167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DC2CCC8D-1625-446F-90C0-4629122B4DD4}" vid="{1BB9B128-420B-4197-BDDB-C5C68FFD6CA6}"/>
    </a:ext>
  </a:extLst>
</a:theme>
</file>

<file path=ppt/theme/theme2.xml><?xml version="1.0" encoding="utf-8"?>
<a:theme xmlns:a="http://schemas.openxmlformats.org/drawingml/2006/main" name="1_Strich link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hne Strich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2.potx" id="{A3411A10-55D1-43C2-B04C-3C5E8E7CFDE5}" vid="{E60593B4-911D-4758-8327-43937288FFED}"/>
    </a:ext>
  </a:extLst>
</a:theme>
</file>

<file path=ppt/theme/theme5.xml><?xml version="1.0" encoding="utf-8"?>
<a:theme xmlns:a="http://schemas.openxmlformats.org/drawingml/2006/main" name="1_Bildschirm">
  <a:themeElements>
    <a:clrScheme name="THI Farbschema">
      <a:dk1>
        <a:srgbClr val="005A9B"/>
      </a:dk1>
      <a:lt1>
        <a:sysClr val="window" lastClr="FFFFFF"/>
      </a:lt1>
      <a:dk2>
        <a:srgbClr val="000000"/>
      </a:dk2>
      <a:lt2>
        <a:srgbClr val="FFFFFF"/>
      </a:lt2>
      <a:accent1>
        <a:srgbClr val="005A9B"/>
      </a:accent1>
      <a:accent2>
        <a:srgbClr val="007382"/>
      </a:accent2>
      <a:accent3>
        <a:srgbClr val="009BCD"/>
      </a:accent3>
      <a:accent4>
        <a:srgbClr val="96BE00"/>
      </a:accent4>
      <a:accent5>
        <a:srgbClr val="009664"/>
      </a:accent5>
      <a:accent6>
        <a:srgbClr val="E6320F"/>
      </a:accent6>
      <a:hlink>
        <a:srgbClr val="005A9B"/>
      </a:hlink>
      <a:folHlink>
        <a:srgbClr val="009BCD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äsentation1" id="{DC2CCC8D-1625-446F-90C0-4629122B4DD4}" vid="{85D937B5-FC70-40A9-8B57-A5E32D18F27B}"/>
    </a:ext>
  </a:extLst>
</a:theme>
</file>

<file path=ppt/theme/theme6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28bcace8-4ce7-4949-868f-170f67122379}" enabled="0" method="" siteId="{28bcace8-4ce7-4949-868f-170f67122379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3850</TotalTime>
  <Words>1049</Words>
  <Application>Microsoft Macintosh PowerPoint</Application>
  <PresentationFormat>Widescreen</PresentationFormat>
  <Paragraphs>191</Paragraphs>
  <Slides>1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8" baseType="lpstr">
      <vt:lpstr>Akzidenz-Grotesk Next Regular</vt:lpstr>
      <vt:lpstr>Arial</vt:lpstr>
      <vt:lpstr>Calibri</vt:lpstr>
      <vt:lpstr>Times New Roman</vt:lpstr>
      <vt:lpstr>TSTAR</vt:lpstr>
      <vt:lpstr>Wingdings</vt:lpstr>
      <vt:lpstr>1_Office</vt:lpstr>
      <vt:lpstr>1_Strich links</vt:lpstr>
      <vt:lpstr>2_ohne Strich</vt:lpstr>
      <vt:lpstr>3_Benutzerdefiniertes Design</vt:lpstr>
      <vt:lpstr>1_Bildschirm</vt:lpstr>
      <vt:lpstr>think-cell Folie</vt:lpstr>
      <vt:lpstr>PowerPoint Presentation</vt:lpstr>
      <vt:lpstr>Overview</vt:lpstr>
      <vt:lpstr>Project Goals</vt:lpstr>
      <vt:lpstr>Overview of Models</vt:lpstr>
      <vt:lpstr>GNM &amp; NoMaD – Diffusion-Based Policies</vt:lpstr>
      <vt:lpstr>ViNT – Vision Transformer</vt:lpstr>
      <vt:lpstr>Model Comparisons</vt:lpstr>
      <vt:lpstr>Data Pipeline</vt:lpstr>
      <vt:lpstr>Training Framework</vt:lpstr>
      <vt:lpstr>Run Summary</vt:lpstr>
      <vt:lpstr>Visual Results – ViNT</vt:lpstr>
      <vt:lpstr>Visual Results – ViNT</vt:lpstr>
      <vt:lpstr>Visual Results – NoMaD</vt:lpstr>
      <vt:lpstr>Comparison of Summary Outputs</vt:lpstr>
      <vt:lpstr>Applications</vt:lpstr>
      <vt:lpstr>Gantt Chart</vt:lpstr>
    </vt:vector>
  </TitlesOfParts>
  <Company>Technische Hochschule Ingolstad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hl, Ann Katrin</dc:creator>
  <cp:lastModifiedBy>mdm5873</cp:lastModifiedBy>
  <cp:revision>331</cp:revision>
  <dcterms:created xsi:type="dcterms:W3CDTF">2024-01-11T16:28:37Z</dcterms:created>
  <dcterms:modified xsi:type="dcterms:W3CDTF">2024-12-28T10:40:25Z</dcterms:modified>
</cp:coreProperties>
</file>